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2.xml" ContentType="application/vnd.openxmlformats-officedocument.presentationml.tags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3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4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notesSlides/notesSlide5.xml" ContentType="application/vnd.openxmlformats-officedocument.presentationml.notesSlide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notesSlides/notesSlide6.xml" ContentType="application/vnd.openxmlformats-officedocument.presentationml.notesSlide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20.xml" ContentType="application/vnd.openxmlformats-officedocument.drawingml.diagramData+xml"/>
  <Override PartName="/ppt/diagrams/layout20.xml" ContentType="application/vnd.openxmlformats-officedocument.drawingml.diagramLayout+xml"/>
  <Override PartName="/ppt/diagrams/quickStyle20.xml" ContentType="application/vnd.openxmlformats-officedocument.drawingml.diagramStyle+xml"/>
  <Override PartName="/ppt/diagrams/colors20.xml" ContentType="application/vnd.openxmlformats-officedocument.drawingml.diagramColors+xml"/>
  <Override PartName="/ppt/diagrams/drawing20.xml" ContentType="application/vnd.ms-office.drawingml.diagramDrawing+xml"/>
  <Override PartName="/ppt/notesSlides/notesSlide9.xml" ContentType="application/vnd.openxmlformats-officedocument.presentationml.notesSlide+xml"/>
  <Override PartName="/ppt/diagrams/data21.xml" ContentType="application/vnd.openxmlformats-officedocument.drawingml.diagramData+xml"/>
  <Override PartName="/ppt/diagrams/layout21.xml" ContentType="application/vnd.openxmlformats-officedocument.drawingml.diagramLayout+xml"/>
  <Override PartName="/ppt/diagrams/quickStyle21.xml" ContentType="application/vnd.openxmlformats-officedocument.drawingml.diagramStyle+xml"/>
  <Override PartName="/ppt/diagrams/colors21.xml" ContentType="application/vnd.openxmlformats-officedocument.drawingml.diagramColors+xml"/>
  <Override PartName="/ppt/diagrams/drawing21.xml" ContentType="application/vnd.ms-office.drawingml.diagramDrawing+xml"/>
  <Override PartName="/ppt/notesSlides/notesSlide10.xml" ContentType="application/vnd.openxmlformats-officedocument.presentationml.notesSlide+xml"/>
  <Override PartName="/ppt/diagrams/data22.xml" ContentType="application/vnd.openxmlformats-officedocument.drawingml.diagramData+xml"/>
  <Override PartName="/ppt/diagrams/layout22.xml" ContentType="application/vnd.openxmlformats-officedocument.drawingml.diagramLayout+xml"/>
  <Override PartName="/ppt/diagrams/quickStyle22.xml" ContentType="application/vnd.openxmlformats-officedocument.drawingml.diagramStyle+xml"/>
  <Override PartName="/ppt/diagrams/colors22.xml" ContentType="application/vnd.openxmlformats-officedocument.drawingml.diagramColors+xml"/>
  <Override PartName="/ppt/diagrams/drawing22.xml" ContentType="application/vnd.ms-office.drawingml.diagramDrawing+xml"/>
  <Override PartName="/ppt/diagrams/data23.xml" ContentType="application/vnd.openxmlformats-officedocument.drawingml.diagramData+xml"/>
  <Override PartName="/ppt/diagrams/layout23.xml" ContentType="application/vnd.openxmlformats-officedocument.drawingml.diagramLayout+xml"/>
  <Override PartName="/ppt/diagrams/quickStyle23.xml" ContentType="application/vnd.openxmlformats-officedocument.drawingml.diagramStyle+xml"/>
  <Override PartName="/ppt/diagrams/colors23.xml" ContentType="application/vnd.openxmlformats-officedocument.drawingml.diagramColors+xml"/>
  <Override PartName="/ppt/diagrams/drawing23.xml" ContentType="application/vnd.ms-office.drawingml.diagramDrawing+xml"/>
  <Override PartName="/ppt/notesSlides/notesSlide11.xml" ContentType="application/vnd.openxmlformats-officedocument.presentationml.notesSlide+xml"/>
  <Override PartName="/ppt/diagrams/data24.xml" ContentType="application/vnd.openxmlformats-officedocument.drawingml.diagramData+xml"/>
  <Override PartName="/ppt/diagrams/layout24.xml" ContentType="application/vnd.openxmlformats-officedocument.drawingml.diagramLayout+xml"/>
  <Override PartName="/ppt/diagrams/quickStyle24.xml" ContentType="application/vnd.openxmlformats-officedocument.drawingml.diagramStyle+xml"/>
  <Override PartName="/ppt/diagrams/colors24.xml" ContentType="application/vnd.openxmlformats-officedocument.drawingml.diagramColors+xml"/>
  <Override PartName="/ppt/diagrams/drawing24.xml" ContentType="application/vnd.ms-office.drawingml.diagramDrawing+xml"/>
  <Override PartName="/ppt/notesSlides/notesSlide12.xml" ContentType="application/vnd.openxmlformats-officedocument.presentationml.notesSlide+xml"/>
  <Override PartName="/ppt/diagrams/data25.xml" ContentType="application/vnd.openxmlformats-officedocument.drawingml.diagramData+xml"/>
  <Override PartName="/ppt/diagrams/layout25.xml" ContentType="application/vnd.openxmlformats-officedocument.drawingml.diagramLayout+xml"/>
  <Override PartName="/ppt/diagrams/quickStyle25.xml" ContentType="application/vnd.openxmlformats-officedocument.drawingml.diagramStyle+xml"/>
  <Override PartName="/ppt/diagrams/colors25.xml" ContentType="application/vnd.openxmlformats-officedocument.drawingml.diagramColors+xml"/>
  <Override PartName="/ppt/diagrams/drawing25.xml" ContentType="application/vnd.ms-office.drawingml.diagramDrawing+xml"/>
  <Override PartName="/ppt/diagrams/data26.xml" ContentType="application/vnd.openxmlformats-officedocument.drawingml.diagramData+xml"/>
  <Override PartName="/ppt/diagrams/layout26.xml" ContentType="application/vnd.openxmlformats-officedocument.drawingml.diagramLayout+xml"/>
  <Override PartName="/ppt/diagrams/quickStyle26.xml" ContentType="application/vnd.openxmlformats-officedocument.drawingml.diagramStyle+xml"/>
  <Override PartName="/ppt/diagrams/colors26.xml" ContentType="application/vnd.openxmlformats-officedocument.drawingml.diagramColors+xml"/>
  <Override PartName="/ppt/diagrams/drawing26.xml" ContentType="application/vnd.ms-office.drawingml.diagramDrawing+xml"/>
  <Override PartName="/ppt/diagrams/data27.xml" ContentType="application/vnd.openxmlformats-officedocument.drawingml.diagramData+xml"/>
  <Override PartName="/ppt/diagrams/layout27.xml" ContentType="application/vnd.openxmlformats-officedocument.drawingml.diagramLayout+xml"/>
  <Override PartName="/ppt/diagrams/quickStyle27.xml" ContentType="application/vnd.openxmlformats-officedocument.drawingml.diagramStyle+xml"/>
  <Override PartName="/ppt/diagrams/colors27.xml" ContentType="application/vnd.openxmlformats-officedocument.drawingml.diagramColors+xml"/>
  <Override PartName="/ppt/diagrams/drawing27.xml" ContentType="application/vnd.ms-office.drawingml.diagramDrawing+xml"/>
  <Override PartName="/ppt/diagrams/data28.xml" ContentType="application/vnd.openxmlformats-officedocument.drawingml.diagramData+xml"/>
  <Override PartName="/ppt/diagrams/layout28.xml" ContentType="application/vnd.openxmlformats-officedocument.drawingml.diagramLayout+xml"/>
  <Override PartName="/ppt/diagrams/quickStyle28.xml" ContentType="application/vnd.openxmlformats-officedocument.drawingml.diagramStyle+xml"/>
  <Override PartName="/ppt/diagrams/colors28.xml" ContentType="application/vnd.openxmlformats-officedocument.drawingml.diagramColors+xml"/>
  <Override PartName="/ppt/diagrams/drawing28.xml" ContentType="application/vnd.ms-office.drawingml.diagramDrawing+xml"/>
  <Override PartName="/ppt/notesSlides/notesSlide13.xml" ContentType="application/vnd.openxmlformats-officedocument.presentationml.notesSlide+xml"/>
  <Override PartName="/ppt/diagrams/data29.xml" ContentType="application/vnd.openxmlformats-officedocument.drawingml.diagramData+xml"/>
  <Override PartName="/ppt/diagrams/layout29.xml" ContentType="application/vnd.openxmlformats-officedocument.drawingml.diagramLayout+xml"/>
  <Override PartName="/ppt/diagrams/quickStyle29.xml" ContentType="application/vnd.openxmlformats-officedocument.drawingml.diagramStyle+xml"/>
  <Override PartName="/ppt/diagrams/colors29.xml" ContentType="application/vnd.openxmlformats-officedocument.drawingml.diagramColors+xml"/>
  <Override PartName="/ppt/diagrams/drawing29.xml" ContentType="application/vnd.ms-office.drawingml.diagramDrawing+xml"/>
  <Override PartName="/ppt/notesSlides/notesSlide14.xml" ContentType="application/vnd.openxmlformats-officedocument.presentationml.notesSlide+xml"/>
  <Override PartName="/ppt/diagrams/data30.xml" ContentType="application/vnd.openxmlformats-officedocument.drawingml.diagramData+xml"/>
  <Override PartName="/ppt/diagrams/layout30.xml" ContentType="application/vnd.openxmlformats-officedocument.drawingml.diagramLayout+xml"/>
  <Override PartName="/ppt/diagrams/quickStyle30.xml" ContentType="application/vnd.openxmlformats-officedocument.drawingml.diagramStyle+xml"/>
  <Override PartName="/ppt/diagrams/colors30.xml" ContentType="application/vnd.openxmlformats-officedocument.drawingml.diagramColors+xml"/>
  <Override PartName="/ppt/diagrams/drawing30.xml" ContentType="application/vnd.ms-office.drawingml.diagramDrawing+xml"/>
  <Override PartName="/ppt/diagrams/data31.xml" ContentType="application/vnd.openxmlformats-officedocument.drawingml.diagramData+xml"/>
  <Override PartName="/ppt/diagrams/layout31.xml" ContentType="application/vnd.openxmlformats-officedocument.drawingml.diagramLayout+xml"/>
  <Override PartName="/ppt/diagrams/quickStyle31.xml" ContentType="application/vnd.openxmlformats-officedocument.drawingml.diagramStyle+xml"/>
  <Override PartName="/ppt/diagrams/colors31.xml" ContentType="application/vnd.openxmlformats-officedocument.drawingml.diagramColors+xml"/>
  <Override PartName="/ppt/diagrams/drawing31.xml" ContentType="application/vnd.ms-office.drawingml.diagramDrawing+xml"/>
  <Override PartName="/ppt/diagrams/data32.xml" ContentType="application/vnd.openxmlformats-officedocument.drawingml.diagramData+xml"/>
  <Override PartName="/ppt/diagrams/layout32.xml" ContentType="application/vnd.openxmlformats-officedocument.drawingml.diagramLayout+xml"/>
  <Override PartName="/ppt/diagrams/quickStyle32.xml" ContentType="application/vnd.openxmlformats-officedocument.drawingml.diagramStyle+xml"/>
  <Override PartName="/ppt/diagrams/colors32.xml" ContentType="application/vnd.openxmlformats-officedocument.drawingml.diagramColors+xml"/>
  <Override PartName="/ppt/diagrams/drawing32.xml" ContentType="application/vnd.ms-office.drawingml.diagramDrawing+xml"/>
  <Override PartName="/ppt/diagrams/data33.xml" ContentType="application/vnd.openxmlformats-officedocument.drawingml.diagramData+xml"/>
  <Override PartName="/ppt/diagrams/layout33.xml" ContentType="application/vnd.openxmlformats-officedocument.drawingml.diagramLayout+xml"/>
  <Override PartName="/ppt/diagrams/quickStyle33.xml" ContentType="application/vnd.openxmlformats-officedocument.drawingml.diagramStyle+xml"/>
  <Override PartName="/ppt/diagrams/colors33.xml" ContentType="application/vnd.openxmlformats-officedocument.drawingml.diagramColors+xml"/>
  <Override PartName="/ppt/diagrams/drawing33.xml" ContentType="application/vnd.ms-office.drawingml.diagramDrawing+xml"/>
  <Override PartName="/ppt/notesSlides/notesSlide15.xml" ContentType="application/vnd.openxmlformats-officedocument.presentationml.notesSlide+xml"/>
  <Override PartName="/ppt/diagrams/data34.xml" ContentType="application/vnd.openxmlformats-officedocument.drawingml.diagramData+xml"/>
  <Override PartName="/ppt/diagrams/layout34.xml" ContentType="application/vnd.openxmlformats-officedocument.drawingml.diagramLayout+xml"/>
  <Override PartName="/ppt/diagrams/quickStyle34.xml" ContentType="application/vnd.openxmlformats-officedocument.drawingml.diagramStyle+xml"/>
  <Override PartName="/ppt/diagrams/colors34.xml" ContentType="application/vnd.openxmlformats-officedocument.drawingml.diagramColors+xml"/>
  <Override PartName="/ppt/diagrams/drawing34.xml" ContentType="application/vnd.ms-office.drawingml.diagramDrawing+xml"/>
  <Override PartName="/ppt/notesSlides/notesSlide16.xml" ContentType="application/vnd.openxmlformats-officedocument.presentationml.notesSlide+xml"/>
  <Override PartName="/ppt/diagrams/data35.xml" ContentType="application/vnd.openxmlformats-officedocument.drawingml.diagramData+xml"/>
  <Override PartName="/ppt/diagrams/layout35.xml" ContentType="application/vnd.openxmlformats-officedocument.drawingml.diagramLayout+xml"/>
  <Override PartName="/ppt/diagrams/quickStyle35.xml" ContentType="application/vnd.openxmlformats-officedocument.drawingml.diagramStyle+xml"/>
  <Override PartName="/ppt/diagrams/colors35.xml" ContentType="application/vnd.openxmlformats-officedocument.drawingml.diagramColors+xml"/>
  <Override PartName="/ppt/diagrams/drawing35.xml" ContentType="application/vnd.ms-office.drawingml.diagramDrawing+xml"/>
  <Override PartName="/ppt/diagrams/data36.xml" ContentType="application/vnd.openxmlformats-officedocument.drawingml.diagramData+xml"/>
  <Override PartName="/ppt/diagrams/layout36.xml" ContentType="application/vnd.openxmlformats-officedocument.drawingml.diagramLayout+xml"/>
  <Override PartName="/ppt/diagrams/quickStyle36.xml" ContentType="application/vnd.openxmlformats-officedocument.drawingml.diagramStyle+xml"/>
  <Override PartName="/ppt/diagrams/colors36.xml" ContentType="application/vnd.openxmlformats-officedocument.drawingml.diagramColors+xml"/>
  <Override PartName="/ppt/diagrams/drawing36.xml" ContentType="application/vnd.ms-office.drawingml.diagramDrawing+xml"/>
  <Override PartName="/ppt/diagrams/data37.xml" ContentType="application/vnd.openxmlformats-officedocument.drawingml.diagramData+xml"/>
  <Override PartName="/ppt/diagrams/layout37.xml" ContentType="application/vnd.openxmlformats-officedocument.drawingml.diagramLayout+xml"/>
  <Override PartName="/ppt/diagrams/quickStyle37.xml" ContentType="application/vnd.openxmlformats-officedocument.drawingml.diagramStyle+xml"/>
  <Override PartName="/ppt/diagrams/colors37.xml" ContentType="application/vnd.openxmlformats-officedocument.drawingml.diagramColors+xml"/>
  <Override PartName="/ppt/diagrams/drawing37.xml" ContentType="application/vnd.ms-office.drawingml.diagramDrawing+xml"/>
  <Override PartName="/ppt/notesSlides/notesSlide17.xml" ContentType="application/vnd.openxmlformats-officedocument.presentationml.notesSlide+xml"/>
  <Override PartName="/ppt/diagrams/data38.xml" ContentType="application/vnd.openxmlformats-officedocument.drawingml.diagramData+xml"/>
  <Override PartName="/ppt/diagrams/layout38.xml" ContentType="application/vnd.openxmlformats-officedocument.drawingml.diagramLayout+xml"/>
  <Override PartName="/ppt/diagrams/quickStyle38.xml" ContentType="application/vnd.openxmlformats-officedocument.drawingml.diagramStyle+xml"/>
  <Override PartName="/ppt/diagrams/colors38.xml" ContentType="application/vnd.openxmlformats-officedocument.drawingml.diagramColors+xml"/>
  <Override PartName="/ppt/diagrams/drawing38.xml" ContentType="application/vnd.ms-office.drawingml.diagramDrawing+xml"/>
  <Override PartName="/ppt/notesSlides/notesSlide18.xml" ContentType="application/vnd.openxmlformats-officedocument.presentationml.notesSlide+xml"/>
  <Override PartName="/ppt/diagrams/data39.xml" ContentType="application/vnd.openxmlformats-officedocument.drawingml.diagramData+xml"/>
  <Override PartName="/ppt/diagrams/layout39.xml" ContentType="application/vnd.openxmlformats-officedocument.drawingml.diagramLayout+xml"/>
  <Override PartName="/ppt/diagrams/quickStyle39.xml" ContentType="application/vnd.openxmlformats-officedocument.drawingml.diagramStyle+xml"/>
  <Override PartName="/ppt/diagrams/colors39.xml" ContentType="application/vnd.openxmlformats-officedocument.drawingml.diagramColors+xml"/>
  <Override PartName="/ppt/diagrams/drawing39.xml" ContentType="application/vnd.ms-office.drawingml.diagramDrawing+xml"/>
  <Override PartName="/ppt/diagrams/data40.xml" ContentType="application/vnd.openxmlformats-officedocument.drawingml.diagramData+xml"/>
  <Override PartName="/ppt/diagrams/layout40.xml" ContentType="application/vnd.openxmlformats-officedocument.drawingml.diagramLayout+xml"/>
  <Override PartName="/ppt/diagrams/quickStyle40.xml" ContentType="application/vnd.openxmlformats-officedocument.drawingml.diagramStyle+xml"/>
  <Override PartName="/ppt/diagrams/colors40.xml" ContentType="application/vnd.openxmlformats-officedocument.drawingml.diagramColors+xml"/>
  <Override PartName="/ppt/diagrams/drawing40.xml" ContentType="application/vnd.ms-office.drawingml.diagramDrawing+xml"/>
  <Override PartName="/ppt/diagrams/data41.xml" ContentType="application/vnd.openxmlformats-officedocument.drawingml.diagramData+xml"/>
  <Override PartName="/ppt/diagrams/layout41.xml" ContentType="application/vnd.openxmlformats-officedocument.drawingml.diagramLayout+xml"/>
  <Override PartName="/ppt/diagrams/quickStyle41.xml" ContentType="application/vnd.openxmlformats-officedocument.drawingml.diagramStyle+xml"/>
  <Override PartName="/ppt/diagrams/colors41.xml" ContentType="application/vnd.openxmlformats-officedocument.drawingml.diagramColors+xml"/>
  <Override PartName="/ppt/diagrams/drawing41.xml" ContentType="application/vnd.ms-office.drawingml.diagramDrawing+xml"/>
  <Override PartName="/ppt/diagrams/data42.xml" ContentType="application/vnd.openxmlformats-officedocument.drawingml.diagramData+xml"/>
  <Override PartName="/ppt/diagrams/layout42.xml" ContentType="application/vnd.openxmlformats-officedocument.drawingml.diagramLayout+xml"/>
  <Override PartName="/ppt/diagrams/quickStyle42.xml" ContentType="application/vnd.openxmlformats-officedocument.drawingml.diagramStyle+xml"/>
  <Override PartName="/ppt/diagrams/colors42.xml" ContentType="application/vnd.openxmlformats-officedocument.drawingml.diagramColors+xml"/>
  <Override PartName="/ppt/diagrams/drawing42.xml" ContentType="application/vnd.ms-office.drawingml.diagramDrawing+xml"/>
  <Override PartName="/ppt/notesSlides/notesSlide19.xml" ContentType="application/vnd.openxmlformats-officedocument.presentationml.notesSlide+xml"/>
  <Override PartName="/ppt/diagrams/data43.xml" ContentType="application/vnd.openxmlformats-officedocument.drawingml.diagramData+xml"/>
  <Override PartName="/ppt/diagrams/layout43.xml" ContentType="application/vnd.openxmlformats-officedocument.drawingml.diagramLayout+xml"/>
  <Override PartName="/ppt/diagrams/quickStyle43.xml" ContentType="application/vnd.openxmlformats-officedocument.drawingml.diagramStyle+xml"/>
  <Override PartName="/ppt/diagrams/colors43.xml" ContentType="application/vnd.openxmlformats-officedocument.drawingml.diagramColors+xml"/>
  <Override PartName="/ppt/diagrams/drawing43.xml" ContentType="application/vnd.ms-office.drawingml.diagramDrawing+xml"/>
  <Override PartName="/ppt/diagrams/data44.xml" ContentType="application/vnd.openxmlformats-officedocument.drawingml.diagramData+xml"/>
  <Override PartName="/ppt/diagrams/layout44.xml" ContentType="application/vnd.openxmlformats-officedocument.drawingml.diagramLayout+xml"/>
  <Override PartName="/ppt/diagrams/quickStyle44.xml" ContentType="application/vnd.openxmlformats-officedocument.drawingml.diagramStyle+xml"/>
  <Override PartName="/ppt/diagrams/colors44.xml" ContentType="application/vnd.openxmlformats-officedocument.drawingml.diagramColors+xml"/>
  <Override PartName="/ppt/diagrams/drawing44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955" r:id="rId1"/>
  </p:sldMasterIdLst>
  <p:notesMasterIdLst>
    <p:notesMasterId r:id="rId25"/>
  </p:notesMasterIdLst>
  <p:handoutMasterIdLst>
    <p:handoutMasterId r:id="rId26"/>
  </p:handoutMasterIdLst>
  <p:sldIdLst>
    <p:sldId id="570" r:id="rId2"/>
    <p:sldId id="579" r:id="rId3"/>
    <p:sldId id="623" r:id="rId4"/>
    <p:sldId id="698" r:id="rId5"/>
    <p:sldId id="734" r:id="rId6"/>
    <p:sldId id="736" r:id="rId7"/>
    <p:sldId id="721" r:id="rId8"/>
    <p:sldId id="739" r:id="rId9"/>
    <p:sldId id="724" r:id="rId10"/>
    <p:sldId id="726" r:id="rId11"/>
    <p:sldId id="740" r:id="rId12"/>
    <p:sldId id="725" r:id="rId13"/>
    <p:sldId id="741" r:id="rId14"/>
    <p:sldId id="745" r:id="rId15"/>
    <p:sldId id="749" r:id="rId16"/>
    <p:sldId id="752" r:id="rId17"/>
    <p:sldId id="746" r:id="rId18"/>
    <p:sldId id="754" r:id="rId19"/>
    <p:sldId id="750" r:id="rId20"/>
    <p:sldId id="748" r:id="rId21"/>
    <p:sldId id="732" r:id="rId22"/>
    <p:sldId id="733" r:id="rId23"/>
    <p:sldId id="755" r:id="rId24"/>
  </p:sldIdLst>
  <p:sldSz cx="9144000" cy="6858000" type="screen4x3"/>
  <p:notesSz cx="6858000" cy="9144000"/>
  <p:defaultTextStyle>
    <a:defPPr>
      <a:defRPr lang="pt-BR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anose="02020603050405020304" pitchFamily="18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anose="02020603050405020304" pitchFamily="18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anose="02020603050405020304" pitchFamily="18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anose="02020603050405020304" pitchFamily="18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anose="02020603050405020304" pitchFamily="18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 New Roman" panose="02020603050405020304" pitchFamily="18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 New Roman" panose="02020603050405020304" pitchFamily="18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 New Roman" panose="02020603050405020304" pitchFamily="18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 New Roman" panose="02020603050405020304" pitchFamily="18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4E90"/>
    <a:srgbClr val="0063B4"/>
    <a:srgbClr val="75C5F0"/>
    <a:srgbClr val="CB5801"/>
    <a:srgbClr val="00B050"/>
    <a:srgbClr val="0093DD"/>
    <a:srgbClr val="FF9900"/>
    <a:srgbClr val="0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Estilo Mé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125E5076-3810-47DD-B79F-674D7AD40C01}" styleName="Estilo Escuro 1 - Ênfas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9CF1AB2-1976-4502-BF36-3FF5EA218861}" styleName="Estilo Médio 4 - Ênfas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3C2FFA5D-87B4-456A-9821-1D502468CF0F}" styleName="Estilo com Tema 1 - Ênfase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D113A9D2-9D6B-4929-AA2D-F23B5EE8CBE7}" styleName="Estilo com Tema 2 - Ênfase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84E427A-3D55-4303-BF80-6455036E1DE7}" styleName="Estilo com Tema 1 - Ênfase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8FB837D-C827-4EFA-A057-4D05807E0F7C}" styleName="Estilo com Tema 1 - Ênfase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9012ECD-51FC-41F1-AA8D-1B2483CD663E}" styleName="Estilo Claro 2 - Ênfase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Estilo Médio 3 - Ênfase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6976" autoAdjust="0"/>
    <p:restoredTop sz="99496" autoAdjust="0"/>
  </p:normalViewPr>
  <p:slideViewPr>
    <p:cSldViewPr>
      <p:cViewPr varScale="1">
        <p:scale>
          <a:sx n="90" d="100"/>
          <a:sy n="90" d="100"/>
        </p:scale>
        <p:origin x="78" y="3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54" y="3210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54" d="100"/>
          <a:sy n="54" d="100"/>
        </p:scale>
        <p:origin x="-1818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_rels/data5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png"/></Relationships>
</file>

<file path=ppt/diagrams/_rels/drawing5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4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5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6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7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8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9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0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1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2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3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4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5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6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7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8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9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0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1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3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4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9D00000-01E4-7240-B3B5-9EF2BDA8456C}" type="doc">
      <dgm:prSet loTypeId="urn:microsoft.com/office/officeart/2005/8/layout/vList2" loCatId="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EE0DA9A-D942-8F47-929B-2343843C0B47}">
      <dgm:prSet custT="1"/>
      <dgm:spPr/>
      <dgm:t>
        <a:bodyPr anchor="ctr"/>
        <a:lstStyle/>
        <a:p>
          <a:pPr marL="0" marR="0" indent="0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pt-BR" sz="2800" b="1" noProof="0"/>
            <a:t>Justificativa</a:t>
          </a:r>
        </a:p>
      </dgm:t>
    </dgm:pt>
    <dgm:pt modelId="{F9ED3753-853C-1944-A762-956FCDFF78B8}" type="parTrans" cxnId="{F78FBB69-8312-A345-8997-19700DBEDD48}">
      <dgm:prSet/>
      <dgm:spPr/>
      <dgm:t>
        <a:bodyPr/>
        <a:lstStyle/>
        <a:p>
          <a:endParaRPr lang="en-US"/>
        </a:p>
      </dgm:t>
    </dgm:pt>
    <dgm:pt modelId="{B8AC0151-87F1-EB4E-8980-0378A27D6734}" type="sibTrans" cxnId="{F78FBB69-8312-A345-8997-19700DBEDD48}">
      <dgm:prSet/>
      <dgm:spPr/>
      <dgm:t>
        <a:bodyPr/>
        <a:lstStyle/>
        <a:p>
          <a:endParaRPr lang="en-US"/>
        </a:p>
      </dgm:t>
    </dgm:pt>
    <dgm:pt modelId="{486F1058-5104-454D-831F-8FE3102256C7}">
      <dgm:prSet custT="1"/>
      <dgm:spPr/>
      <dgm:t>
        <a:bodyPr anchor="ctr"/>
        <a:lstStyle/>
        <a:p>
          <a:pPr marL="0" marR="0" indent="0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pt-BR" sz="2800" b="1" noProof="0" dirty="0"/>
            <a:t>Objetivo</a:t>
          </a:r>
          <a:endParaRPr lang="pt-BR" sz="2800" noProof="0" dirty="0"/>
        </a:p>
      </dgm:t>
    </dgm:pt>
    <dgm:pt modelId="{0005C618-99E7-D34C-B718-3CAAA5911587}" type="sibTrans" cxnId="{0AB721B3-7179-884D-93A9-C5EE8EE1C42F}">
      <dgm:prSet/>
      <dgm:spPr/>
      <dgm:t>
        <a:bodyPr/>
        <a:lstStyle/>
        <a:p>
          <a:endParaRPr lang="en-US" sz="2400"/>
        </a:p>
      </dgm:t>
    </dgm:pt>
    <dgm:pt modelId="{8BE1B962-B399-1141-9930-667A585F3991}" type="parTrans" cxnId="{0AB721B3-7179-884D-93A9-C5EE8EE1C42F}">
      <dgm:prSet/>
      <dgm:spPr/>
      <dgm:t>
        <a:bodyPr/>
        <a:lstStyle/>
        <a:p>
          <a:endParaRPr lang="en-US" sz="2400"/>
        </a:p>
      </dgm:t>
    </dgm:pt>
    <dgm:pt modelId="{ACAFD9A1-83EA-4121-882B-309D53ACA06D}">
      <dgm:prSet custT="1"/>
      <dgm:spPr/>
      <dgm:t>
        <a:bodyPr anchor="ctr"/>
        <a:lstStyle/>
        <a:p>
          <a:pPr marR="0" rtl="0" eaLnBrk="1" fontAlgn="auto" latinLnBrk="0" hangingPunct="1">
            <a:buClrTx/>
            <a:buSzTx/>
            <a:buFontTx/>
            <a:tabLst/>
            <a:defRPr/>
          </a:pPr>
          <a:r>
            <a:rPr lang="pt-BR" sz="2800" b="1" noProof="0" dirty="0"/>
            <a:t>Análise</a:t>
          </a:r>
        </a:p>
      </dgm:t>
    </dgm:pt>
    <dgm:pt modelId="{5C2D0FC0-0792-4DA9-9D0A-04E4B190ACFA}" type="parTrans" cxnId="{861DD6B6-B773-4C4F-9EDF-6582FE2F3029}">
      <dgm:prSet/>
      <dgm:spPr/>
      <dgm:t>
        <a:bodyPr/>
        <a:lstStyle/>
        <a:p>
          <a:endParaRPr lang="pt-BR"/>
        </a:p>
      </dgm:t>
    </dgm:pt>
    <dgm:pt modelId="{2042FC5E-7608-4383-A404-88D612AA1CE5}" type="sibTrans" cxnId="{861DD6B6-B773-4C4F-9EDF-6582FE2F3029}">
      <dgm:prSet/>
      <dgm:spPr/>
      <dgm:t>
        <a:bodyPr/>
        <a:lstStyle/>
        <a:p>
          <a:endParaRPr lang="pt-BR"/>
        </a:p>
      </dgm:t>
    </dgm:pt>
    <dgm:pt modelId="{AB3284A4-5C17-4B33-B0AE-E629DF1D4121}">
      <dgm:prSet custT="1"/>
      <dgm:spPr>
        <a:solidFill>
          <a:schemeClr val="accent1">
            <a:lumMod val="60000"/>
            <a:lumOff val="40000"/>
          </a:schemeClr>
        </a:solidFill>
      </dgm:spPr>
      <dgm:t>
        <a:bodyPr anchor="ctr"/>
        <a:lstStyle/>
        <a:p>
          <a:pPr marR="0" rtl="0" eaLnBrk="1" fontAlgn="auto" latinLnBrk="0" hangingPunct="1">
            <a:buClrTx/>
            <a:buSzTx/>
            <a:buFontTx/>
            <a:tabLst/>
            <a:defRPr/>
          </a:pPr>
          <a:r>
            <a:rPr lang="pt-BR" sz="1600" b="0" noProof="0" dirty="0"/>
            <a:t>Sistematização</a:t>
          </a:r>
        </a:p>
      </dgm:t>
    </dgm:pt>
    <dgm:pt modelId="{07F4F338-F453-456F-B396-76F6A9692AA9}" type="parTrans" cxnId="{255A76EE-2D75-4363-81B6-4A8E0DB7A4D7}">
      <dgm:prSet/>
      <dgm:spPr/>
      <dgm:t>
        <a:bodyPr/>
        <a:lstStyle/>
        <a:p>
          <a:endParaRPr lang="pt-BR"/>
        </a:p>
      </dgm:t>
    </dgm:pt>
    <dgm:pt modelId="{09605F51-6563-4A3D-9323-A0AFBFA89E49}" type="sibTrans" cxnId="{255A76EE-2D75-4363-81B6-4A8E0DB7A4D7}">
      <dgm:prSet/>
      <dgm:spPr/>
      <dgm:t>
        <a:bodyPr/>
        <a:lstStyle/>
        <a:p>
          <a:endParaRPr lang="pt-BR"/>
        </a:p>
      </dgm:t>
    </dgm:pt>
    <dgm:pt modelId="{F1F7BA2C-9BB0-4007-942A-8F2F601EBCFF}">
      <dgm:prSet custT="1"/>
      <dgm:spPr>
        <a:solidFill>
          <a:schemeClr val="accent1">
            <a:lumMod val="60000"/>
            <a:lumOff val="40000"/>
          </a:schemeClr>
        </a:solidFill>
      </dgm:spPr>
      <dgm:t>
        <a:bodyPr anchor="ctr"/>
        <a:lstStyle/>
        <a:p>
          <a:pPr marR="0" rtl="0" eaLnBrk="1" fontAlgn="auto" latinLnBrk="0" hangingPunct="1">
            <a:buClrTx/>
            <a:buSzTx/>
            <a:buFontTx/>
            <a:tabLst/>
            <a:defRPr/>
          </a:pPr>
          <a:r>
            <a:rPr lang="pt-BR" sz="1600" b="0" noProof="0" dirty="0"/>
            <a:t>Alteração relevante</a:t>
          </a:r>
        </a:p>
      </dgm:t>
    </dgm:pt>
    <dgm:pt modelId="{B9C04F12-818A-4226-8C95-237ABCED6749}" type="sibTrans" cxnId="{C2DDB359-78E9-46B8-B5F4-B894614ECE76}">
      <dgm:prSet/>
      <dgm:spPr/>
      <dgm:t>
        <a:bodyPr/>
        <a:lstStyle/>
        <a:p>
          <a:endParaRPr lang="pt-BR"/>
        </a:p>
      </dgm:t>
    </dgm:pt>
    <dgm:pt modelId="{1F8E5CEB-F9CD-4E2C-9EB9-D395EDD200C1}" type="parTrans" cxnId="{C2DDB359-78E9-46B8-B5F4-B894614ECE76}">
      <dgm:prSet/>
      <dgm:spPr/>
      <dgm:t>
        <a:bodyPr/>
        <a:lstStyle/>
        <a:p>
          <a:endParaRPr lang="pt-BR"/>
        </a:p>
      </dgm:t>
    </dgm:pt>
    <dgm:pt modelId="{05E77A21-27A0-4BB9-AE64-F6A461F26EC5}">
      <dgm:prSet custT="1"/>
      <dgm:spPr>
        <a:solidFill>
          <a:schemeClr val="accent1">
            <a:lumMod val="60000"/>
            <a:lumOff val="40000"/>
          </a:schemeClr>
        </a:solidFill>
      </dgm:spPr>
      <dgm:t>
        <a:bodyPr anchor="ctr"/>
        <a:lstStyle/>
        <a:p>
          <a:pPr marR="0" rtl="0" eaLnBrk="1" fontAlgn="auto" latinLnBrk="0" hangingPunct="1">
            <a:buClrTx/>
            <a:buSzTx/>
            <a:buFontTx/>
            <a:tabLst/>
            <a:defRPr/>
          </a:pPr>
          <a:r>
            <a:rPr lang="pt-BR" sz="1600" b="0" noProof="0" dirty="0"/>
            <a:t>Preclusão</a:t>
          </a:r>
        </a:p>
      </dgm:t>
    </dgm:pt>
    <dgm:pt modelId="{42E876FA-66D2-420B-BAAE-EB53CDE39B8C}" type="parTrans" cxnId="{00DB8641-6515-4F83-A6DA-291C257B340A}">
      <dgm:prSet/>
      <dgm:spPr/>
      <dgm:t>
        <a:bodyPr/>
        <a:lstStyle/>
        <a:p>
          <a:endParaRPr lang="pt-BR"/>
        </a:p>
      </dgm:t>
    </dgm:pt>
    <dgm:pt modelId="{8E5C462D-5579-47DA-98D8-42961B314D89}" type="sibTrans" cxnId="{00DB8641-6515-4F83-A6DA-291C257B340A}">
      <dgm:prSet/>
      <dgm:spPr/>
      <dgm:t>
        <a:bodyPr/>
        <a:lstStyle/>
        <a:p>
          <a:endParaRPr lang="pt-BR"/>
        </a:p>
      </dgm:t>
    </dgm:pt>
    <dgm:pt modelId="{7467069D-51B7-499C-BB6D-7717C9716725}">
      <dgm:prSet custT="1"/>
      <dgm:spPr>
        <a:solidFill>
          <a:schemeClr val="accent1">
            <a:lumMod val="60000"/>
            <a:lumOff val="40000"/>
          </a:schemeClr>
        </a:solidFill>
      </dgm:spPr>
      <dgm:t>
        <a:bodyPr anchor="ctr"/>
        <a:lstStyle/>
        <a:p>
          <a:pPr marR="0" rtl="0" eaLnBrk="1" fontAlgn="auto" latinLnBrk="0" hangingPunct="1">
            <a:buClrTx/>
            <a:buSzTx/>
            <a:buFontTx/>
            <a:tabLst/>
            <a:defRPr/>
          </a:pPr>
          <a:r>
            <a:rPr lang="pt-BR" sz="1600" b="0" noProof="0" dirty="0"/>
            <a:t>Análise individual</a:t>
          </a:r>
        </a:p>
      </dgm:t>
    </dgm:pt>
    <dgm:pt modelId="{7EFFE86A-7BB5-461B-A992-DAAD082B1D4F}" type="parTrans" cxnId="{C6552734-52B5-44BB-8141-DCCE5BADCCB3}">
      <dgm:prSet/>
      <dgm:spPr/>
      <dgm:t>
        <a:bodyPr/>
        <a:lstStyle/>
        <a:p>
          <a:endParaRPr lang="pt-BR"/>
        </a:p>
      </dgm:t>
    </dgm:pt>
    <dgm:pt modelId="{351D4BE5-77FD-4853-BFDB-BA4C1C512869}" type="sibTrans" cxnId="{C6552734-52B5-44BB-8141-DCCE5BADCCB3}">
      <dgm:prSet/>
      <dgm:spPr/>
      <dgm:t>
        <a:bodyPr/>
        <a:lstStyle/>
        <a:p>
          <a:endParaRPr lang="pt-BR"/>
        </a:p>
      </dgm:t>
    </dgm:pt>
    <dgm:pt modelId="{4E41F875-8E05-44E8-B163-A1A22CD4C04C}">
      <dgm:prSet custT="1"/>
      <dgm:spPr>
        <a:solidFill>
          <a:schemeClr val="accent1">
            <a:lumMod val="60000"/>
            <a:lumOff val="40000"/>
          </a:schemeClr>
        </a:solidFill>
      </dgm:spPr>
      <dgm:t>
        <a:bodyPr anchor="ctr"/>
        <a:lstStyle/>
        <a:p>
          <a:pPr marR="0" rtl="0" eaLnBrk="1" fontAlgn="auto" latinLnBrk="0" hangingPunct="1">
            <a:buClrTx/>
            <a:buSzTx/>
            <a:buFontTx/>
            <a:tabLst/>
            <a:defRPr/>
          </a:pPr>
          <a:r>
            <a:rPr lang="pt-BR" sz="1600" b="0" noProof="0" dirty="0"/>
            <a:t>Pedido de revisão extraordinária</a:t>
          </a:r>
        </a:p>
      </dgm:t>
    </dgm:pt>
    <dgm:pt modelId="{2242ACD9-B938-4D2D-BBFD-D126B648ECB6}" type="parTrans" cxnId="{B5CB5F21-CD0B-4288-BFB2-BE73BA83B6B2}">
      <dgm:prSet/>
      <dgm:spPr/>
      <dgm:t>
        <a:bodyPr/>
        <a:lstStyle/>
        <a:p>
          <a:endParaRPr lang="pt-BR"/>
        </a:p>
      </dgm:t>
    </dgm:pt>
    <dgm:pt modelId="{7AB33F36-B31C-4858-BF43-12DD22A1FD78}" type="sibTrans" cxnId="{B5CB5F21-CD0B-4288-BFB2-BE73BA83B6B2}">
      <dgm:prSet/>
      <dgm:spPr/>
      <dgm:t>
        <a:bodyPr/>
        <a:lstStyle/>
        <a:p>
          <a:endParaRPr lang="pt-BR"/>
        </a:p>
      </dgm:t>
    </dgm:pt>
    <dgm:pt modelId="{B849FD6F-3DD4-4AC3-9072-6C16942DB6A9}">
      <dgm:prSet custT="1"/>
      <dgm:spPr>
        <a:solidFill>
          <a:schemeClr val="accent1">
            <a:lumMod val="60000"/>
            <a:lumOff val="40000"/>
          </a:schemeClr>
        </a:solidFill>
      </dgm:spPr>
      <dgm:t>
        <a:bodyPr anchor="ctr"/>
        <a:lstStyle/>
        <a:p>
          <a:pPr marR="0" rtl="0" eaLnBrk="1" fontAlgn="auto" latinLnBrk="0" hangingPunct="1">
            <a:buClrTx/>
            <a:buSzTx/>
            <a:buFontTx/>
            <a:tabLst/>
            <a:defRPr/>
          </a:pPr>
          <a:r>
            <a:rPr lang="pt-BR" sz="1600" b="0" noProof="0" dirty="0"/>
            <a:t>Recomposição do EEF</a:t>
          </a:r>
        </a:p>
      </dgm:t>
    </dgm:pt>
    <dgm:pt modelId="{19067F72-C1FD-4B43-B3F6-348C2C285A6E}" type="sibTrans" cxnId="{1366D4F8-DE75-42F3-B876-C6F1F3EBC6BF}">
      <dgm:prSet/>
      <dgm:spPr/>
      <dgm:t>
        <a:bodyPr/>
        <a:lstStyle/>
        <a:p>
          <a:endParaRPr lang="pt-BR"/>
        </a:p>
      </dgm:t>
    </dgm:pt>
    <dgm:pt modelId="{0CA1607E-CAA4-4F13-B35E-5A17151B3623}" type="parTrans" cxnId="{1366D4F8-DE75-42F3-B876-C6F1F3EBC6BF}">
      <dgm:prSet/>
      <dgm:spPr/>
      <dgm:t>
        <a:bodyPr/>
        <a:lstStyle/>
        <a:p>
          <a:endParaRPr lang="pt-BR"/>
        </a:p>
      </dgm:t>
    </dgm:pt>
    <dgm:pt modelId="{B14A5044-D1D5-4C4C-8EDD-E07B19D66AAF}">
      <dgm:prSet custT="1"/>
      <dgm:spPr>
        <a:solidFill>
          <a:schemeClr val="accent1">
            <a:lumMod val="60000"/>
            <a:lumOff val="40000"/>
          </a:schemeClr>
        </a:solidFill>
      </dgm:spPr>
      <dgm:t>
        <a:bodyPr anchor="ctr"/>
        <a:lstStyle/>
        <a:p>
          <a:pPr marR="0" rtl="0" eaLnBrk="1" fontAlgn="auto" latinLnBrk="0" hangingPunct="1">
            <a:buClrTx/>
            <a:buSzTx/>
            <a:buFontTx/>
            <a:tabLst/>
            <a:defRPr/>
          </a:pPr>
          <a:r>
            <a:rPr lang="pt-BR" sz="1600" b="0" noProof="0" dirty="0"/>
            <a:t>Prazo</a:t>
          </a:r>
        </a:p>
      </dgm:t>
    </dgm:pt>
    <dgm:pt modelId="{529B7475-D1FD-4F47-A14C-A8606185EA37}" type="parTrans" cxnId="{0ABD141C-F31B-4A4A-93E3-BEBE7B5EFDED}">
      <dgm:prSet/>
      <dgm:spPr/>
      <dgm:t>
        <a:bodyPr/>
        <a:lstStyle/>
        <a:p>
          <a:endParaRPr lang="pt-BR"/>
        </a:p>
      </dgm:t>
    </dgm:pt>
    <dgm:pt modelId="{DA84D13C-FBCC-496C-8A8A-9661A86A0F99}" type="sibTrans" cxnId="{0ABD141C-F31B-4A4A-93E3-BEBE7B5EFDED}">
      <dgm:prSet/>
      <dgm:spPr/>
      <dgm:t>
        <a:bodyPr/>
        <a:lstStyle/>
        <a:p>
          <a:endParaRPr lang="pt-BR"/>
        </a:p>
      </dgm:t>
    </dgm:pt>
    <dgm:pt modelId="{535D7656-D78E-754D-8A42-41023379A793}" type="pres">
      <dgm:prSet presAssocID="{09D00000-01E4-7240-B3B5-9EF2BDA8456C}" presName="linear" presStyleCnt="0">
        <dgm:presLayoutVars>
          <dgm:animLvl val="lvl"/>
          <dgm:resizeHandles val="exact"/>
        </dgm:presLayoutVars>
      </dgm:prSet>
      <dgm:spPr/>
    </dgm:pt>
    <dgm:pt modelId="{EB766CDB-92AB-7D43-8D75-3B0260F1D040}" type="pres">
      <dgm:prSet presAssocID="{486F1058-5104-454D-831F-8FE3102256C7}" presName="parentText" presStyleLbl="node1" presStyleIdx="0" presStyleCnt="10" custScaleY="56731" custLinFactNeighborX="-450" custLinFactNeighborY="-40453">
        <dgm:presLayoutVars>
          <dgm:chMax val="0"/>
          <dgm:bulletEnabled val="1"/>
        </dgm:presLayoutVars>
      </dgm:prSet>
      <dgm:spPr/>
    </dgm:pt>
    <dgm:pt modelId="{93D9FBCF-CE91-FC4F-A175-C58CE81F5B61}" type="pres">
      <dgm:prSet presAssocID="{0005C618-99E7-D34C-B718-3CAAA5911587}" presName="spacer" presStyleCnt="0"/>
      <dgm:spPr/>
    </dgm:pt>
    <dgm:pt modelId="{E8ABFFE9-82D4-1344-A286-D3B47991F50F}" type="pres">
      <dgm:prSet presAssocID="{EEE0DA9A-D942-8F47-929B-2343843C0B47}" presName="parentText" presStyleLbl="node1" presStyleIdx="1" presStyleCnt="10" custScaleY="53303">
        <dgm:presLayoutVars>
          <dgm:chMax val="0"/>
          <dgm:bulletEnabled val="1"/>
        </dgm:presLayoutVars>
      </dgm:prSet>
      <dgm:spPr/>
    </dgm:pt>
    <dgm:pt modelId="{AE8ABF48-4384-4AA7-B63F-C6C93D34EE34}" type="pres">
      <dgm:prSet presAssocID="{B8AC0151-87F1-EB4E-8980-0378A27D6734}" presName="spacer" presStyleCnt="0"/>
      <dgm:spPr/>
    </dgm:pt>
    <dgm:pt modelId="{0AEA479B-0C44-4981-9E89-E893702EFCA2}" type="pres">
      <dgm:prSet presAssocID="{ACAFD9A1-83EA-4121-882B-309D53ACA06D}" presName="parentText" presStyleLbl="node1" presStyleIdx="2" presStyleCnt="10" custScaleY="53303" custLinFactNeighborX="-5788" custLinFactNeighborY="-7494">
        <dgm:presLayoutVars>
          <dgm:chMax val="0"/>
          <dgm:bulletEnabled val="1"/>
        </dgm:presLayoutVars>
      </dgm:prSet>
      <dgm:spPr/>
    </dgm:pt>
    <dgm:pt modelId="{D7CE2BF2-1E47-4ED7-9C7F-0B73383DBBA4}" type="pres">
      <dgm:prSet presAssocID="{2042FC5E-7608-4383-A404-88D612AA1CE5}" presName="spacer" presStyleCnt="0"/>
      <dgm:spPr/>
    </dgm:pt>
    <dgm:pt modelId="{FE8200D6-8CDA-4508-BB73-692B8F37239F}" type="pres">
      <dgm:prSet presAssocID="{AB3284A4-5C17-4B33-B0AE-E629DF1D4121}" presName="parentText" presStyleLbl="node1" presStyleIdx="3" presStyleCnt="10" custScaleX="89340" custScaleY="34182" custLinFactNeighborX="5058" custLinFactNeighborY="-3261">
        <dgm:presLayoutVars>
          <dgm:chMax val="0"/>
          <dgm:bulletEnabled val="1"/>
        </dgm:presLayoutVars>
      </dgm:prSet>
      <dgm:spPr/>
    </dgm:pt>
    <dgm:pt modelId="{4DB215E5-3526-4B5A-8A0B-9BEA91528D7C}" type="pres">
      <dgm:prSet presAssocID="{09605F51-6563-4A3D-9323-A0AFBFA89E49}" presName="spacer" presStyleCnt="0"/>
      <dgm:spPr/>
    </dgm:pt>
    <dgm:pt modelId="{5D5C00B6-09B0-4235-93BB-BEF88DCD3C5E}" type="pres">
      <dgm:prSet presAssocID="{F1F7BA2C-9BB0-4007-942A-8F2F601EBCFF}" presName="parentText" presStyleLbl="node1" presStyleIdx="4" presStyleCnt="10" custScaleX="89340" custScaleY="34182" custLinFactNeighborX="5058" custLinFactNeighborY="-3261">
        <dgm:presLayoutVars>
          <dgm:chMax val="0"/>
          <dgm:bulletEnabled val="1"/>
        </dgm:presLayoutVars>
      </dgm:prSet>
      <dgm:spPr/>
    </dgm:pt>
    <dgm:pt modelId="{2AE3F358-2F51-4E5A-915E-48586D79F841}" type="pres">
      <dgm:prSet presAssocID="{B9C04F12-818A-4226-8C95-237ABCED6749}" presName="spacer" presStyleCnt="0"/>
      <dgm:spPr/>
    </dgm:pt>
    <dgm:pt modelId="{564A66EA-D62B-48E0-A24F-6040C7FD3113}" type="pres">
      <dgm:prSet presAssocID="{05E77A21-27A0-4BB9-AE64-F6A461F26EC5}" presName="parentText" presStyleLbl="node1" presStyleIdx="5" presStyleCnt="10" custScaleX="89340" custScaleY="34182" custLinFactNeighborX="5058" custLinFactNeighborY="-3261">
        <dgm:presLayoutVars>
          <dgm:chMax val="0"/>
          <dgm:bulletEnabled val="1"/>
        </dgm:presLayoutVars>
      </dgm:prSet>
      <dgm:spPr/>
    </dgm:pt>
    <dgm:pt modelId="{88BF9B8A-6987-41A3-8197-38BCC62ACA97}" type="pres">
      <dgm:prSet presAssocID="{8E5C462D-5579-47DA-98D8-42961B314D89}" presName="spacer" presStyleCnt="0"/>
      <dgm:spPr/>
    </dgm:pt>
    <dgm:pt modelId="{7E5FE135-8792-4816-8766-D8D1C06F020B}" type="pres">
      <dgm:prSet presAssocID="{7467069D-51B7-499C-BB6D-7717C9716725}" presName="parentText" presStyleLbl="node1" presStyleIdx="6" presStyleCnt="10" custScaleX="89340" custScaleY="34182" custLinFactNeighborX="5058" custLinFactNeighborY="-3261">
        <dgm:presLayoutVars>
          <dgm:chMax val="0"/>
          <dgm:bulletEnabled val="1"/>
        </dgm:presLayoutVars>
      </dgm:prSet>
      <dgm:spPr/>
    </dgm:pt>
    <dgm:pt modelId="{CCC36AC3-AB43-4B70-AAE2-ED5CF5B805B2}" type="pres">
      <dgm:prSet presAssocID="{351D4BE5-77FD-4853-BFDB-BA4C1C512869}" presName="spacer" presStyleCnt="0"/>
      <dgm:spPr/>
    </dgm:pt>
    <dgm:pt modelId="{BE58EB93-04C3-43B7-9821-8D9F0EF90A9E}" type="pres">
      <dgm:prSet presAssocID="{4E41F875-8E05-44E8-B163-A1A22CD4C04C}" presName="parentText" presStyleLbl="node1" presStyleIdx="7" presStyleCnt="10" custScaleX="89340" custScaleY="34182" custLinFactNeighborX="5058" custLinFactNeighborY="-3261">
        <dgm:presLayoutVars>
          <dgm:chMax val="0"/>
          <dgm:bulletEnabled val="1"/>
        </dgm:presLayoutVars>
      </dgm:prSet>
      <dgm:spPr/>
    </dgm:pt>
    <dgm:pt modelId="{52AF0CAB-2E2B-4FD9-9875-C06954C59EE0}" type="pres">
      <dgm:prSet presAssocID="{7AB33F36-B31C-4858-BF43-12DD22A1FD78}" presName="spacer" presStyleCnt="0"/>
      <dgm:spPr/>
    </dgm:pt>
    <dgm:pt modelId="{56E9E196-F14C-4637-A0F5-90CC289E7DF6}" type="pres">
      <dgm:prSet presAssocID="{B849FD6F-3DD4-4AC3-9072-6C16942DB6A9}" presName="parentText" presStyleLbl="node1" presStyleIdx="8" presStyleCnt="10" custScaleX="89340" custScaleY="34182" custLinFactNeighborX="5058" custLinFactNeighborY="-3261">
        <dgm:presLayoutVars>
          <dgm:chMax val="0"/>
          <dgm:bulletEnabled val="1"/>
        </dgm:presLayoutVars>
      </dgm:prSet>
      <dgm:spPr/>
    </dgm:pt>
    <dgm:pt modelId="{3360B5A5-C839-4A36-91E1-7A1F17E177F1}" type="pres">
      <dgm:prSet presAssocID="{19067F72-C1FD-4B43-B3F6-348C2C285A6E}" presName="spacer" presStyleCnt="0"/>
      <dgm:spPr/>
    </dgm:pt>
    <dgm:pt modelId="{34D7079A-E000-4C9C-8E74-B2CD8BB767AF}" type="pres">
      <dgm:prSet presAssocID="{B14A5044-D1D5-4C4C-8EDD-E07B19D66AAF}" presName="parentText" presStyleLbl="node1" presStyleIdx="9" presStyleCnt="10" custScaleX="89340" custScaleY="34182" custLinFactNeighborX="5058" custLinFactNeighborY="-3261">
        <dgm:presLayoutVars>
          <dgm:chMax val="0"/>
          <dgm:bulletEnabled val="1"/>
        </dgm:presLayoutVars>
      </dgm:prSet>
      <dgm:spPr/>
    </dgm:pt>
  </dgm:ptLst>
  <dgm:cxnLst>
    <dgm:cxn modelId="{DC8F2706-5232-4721-97C8-63BD4CCA3625}" type="presOf" srcId="{B14A5044-D1D5-4C4C-8EDD-E07B19D66AAF}" destId="{34D7079A-E000-4C9C-8E74-B2CD8BB767AF}" srcOrd="0" destOrd="0" presId="urn:microsoft.com/office/officeart/2005/8/layout/vList2"/>
    <dgm:cxn modelId="{29E0EC07-CF20-412F-94D8-88754A5E7360}" type="presOf" srcId="{F1F7BA2C-9BB0-4007-942A-8F2F601EBCFF}" destId="{5D5C00B6-09B0-4235-93BB-BEF88DCD3C5E}" srcOrd="0" destOrd="0" presId="urn:microsoft.com/office/officeart/2005/8/layout/vList2"/>
    <dgm:cxn modelId="{36E74019-D12E-456A-8AEF-DA9AAC9081C6}" type="presOf" srcId="{486F1058-5104-454D-831F-8FE3102256C7}" destId="{EB766CDB-92AB-7D43-8D75-3B0260F1D040}" srcOrd="0" destOrd="0" presId="urn:microsoft.com/office/officeart/2005/8/layout/vList2"/>
    <dgm:cxn modelId="{B1EF031A-C190-4E9A-83D3-7FA395678F22}" type="presOf" srcId="{7467069D-51B7-499C-BB6D-7717C9716725}" destId="{7E5FE135-8792-4816-8766-D8D1C06F020B}" srcOrd="0" destOrd="0" presId="urn:microsoft.com/office/officeart/2005/8/layout/vList2"/>
    <dgm:cxn modelId="{0ABD141C-F31B-4A4A-93E3-BEBE7B5EFDED}" srcId="{09D00000-01E4-7240-B3B5-9EF2BDA8456C}" destId="{B14A5044-D1D5-4C4C-8EDD-E07B19D66AAF}" srcOrd="9" destOrd="0" parTransId="{529B7475-D1FD-4F47-A14C-A8606185EA37}" sibTransId="{DA84D13C-FBCC-496C-8A8A-9661A86A0F99}"/>
    <dgm:cxn modelId="{B5CB5F21-CD0B-4288-BFB2-BE73BA83B6B2}" srcId="{09D00000-01E4-7240-B3B5-9EF2BDA8456C}" destId="{4E41F875-8E05-44E8-B163-A1A22CD4C04C}" srcOrd="7" destOrd="0" parTransId="{2242ACD9-B938-4D2D-BBFD-D126B648ECB6}" sibTransId="{7AB33F36-B31C-4858-BF43-12DD22A1FD78}"/>
    <dgm:cxn modelId="{C6552734-52B5-44BB-8141-DCCE5BADCCB3}" srcId="{09D00000-01E4-7240-B3B5-9EF2BDA8456C}" destId="{7467069D-51B7-499C-BB6D-7717C9716725}" srcOrd="6" destOrd="0" parTransId="{7EFFE86A-7BB5-461B-A992-DAAD082B1D4F}" sibTransId="{351D4BE5-77FD-4853-BFDB-BA4C1C512869}"/>
    <dgm:cxn modelId="{94D91C3C-4890-43CD-8882-FA7E097B4964}" type="presOf" srcId="{05E77A21-27A0-4BB9-AE64-F6A461F26EC5}" destId="{564A66EA-D62B-48E0-A24F-6040C7FD3113}" srcOrd="0" destOrd="0" presId="urn:microsoft.com/office/officeart/2005/8/layout/vList2"/>
    <dgm:cxn modelId="{00DB8641-6515-4F83-A6DA-291C257B340A}" srcId="{09D00000-01E4-7240-B3B5-9EF2BDA8456C}" destId="{05E77A21-27A0-4BB9-AE64-F6A461F26EC5}" srcOrd="5" destOrd="0" parTransId="{42E876FA-66D2-420B-BAAE-EB53CDE39B8C}" sibTransId="{8E5C462D-5579-47DA-98D8-42961B314D89}"/>
    <dgm:cxn modelId="{F78FBB69-8312-A345-8997-19700DBEDD48}" srcId="{09D00000-01E4-7240-B3B5-9EF2BDA8456C}" destId="{EEE0DA9A-D942-8F47-929B-2343843C0B47}" srcOrd="1" destOrd="0" parTransId="{F9ED3753-853C-1944-A762-956FCDFF78B8}" sibTransId="{B8AC0151-87F1-EB4E-8980-0378A27D6734}"/>
    <dgm:cxn modelId="{E3FCF66E-B865-467F-8478-391D4AB4F57A}" type="presOf" srcId="{B849FD6F-3DD4-4AC3-9072-6C16942DB6A9}" destId="{56E9E196-F14C-4637-A0F5-90CC289E7DF6}" srcOrd="0" destOrd="0" presId="urn:microsoft.com/office/officeart/2005/8/layout/vList2"/>
    <dgm:cxn modelId="{C2DDB359-78E9-46B8-B5F4-B894614ECE76}" srcId="{09D00000-01E4-7240-B3B5-9EF2BDA8456C}" destId="{F1F7BA2C-9BB0-4007-942A-8F2F601EBCFF}" srcOrd="4" destOrd="0" parTransId="{1F8E5CEB-F9CD-4E2C-9EB9-D395EDD200C1}" sibTransId="{B9C04F12-818A-4226-8C95-237ABCED6749}"/>
    <dgm:cxn modelId="{53FCD688-9A7D-4CF4-A10A-487BB11AFD08}" type="presOf" srcId="{AB3284A4-5C17-4B33-B0AE-E629DF1D4121}" destId="{FE8200D6-8CDA-4508-BB73-692B8F37239F}" srcOrd="0" destOrd="0" presId="urn:microsoft.com/office/officeart/2005/8/layout/vList2"/>
    <dgm:cxn modelId="{4A86DEA8-9043-4D51-9069-D3E77A54F4F8}" type="presOf" srcId="{4E41F875-8E05-44E8-B163-A1A22CD4C04C}" destId="{BE58EB93-04C3-43B7-9821-8D9F0EF90A9E}" srcOrd="0" destOrd="0" presId="urn:microsoft.com/office/officeart/2005/8/layout/vList2"/>
    <dgm:cxn modelId="{0AB721B3-7179-884D-93A9-C5EE8EE1C42F}" srcId="{09D00000-01E4-7240-B3B5-9EF2BDA8456C}" destId="{486F1058-5104-454D-831F-8FE3102256C7}" srcOrd="0" destOrd="0" parTransId="{8BE1B962-B399-1141-9930-667A585F3991}" sibTransId="{0005C618-99E7-D34C-B718-3CAAA5911587}"/>
    <dgm:cxn modelId="{861DD6B6-B773-4C4F-9EDF-6582FE2F3029}" srcId="{09D00000-01E4-7240-B3B5-9EF2BDA8456C}" destId="{ACAFD9A1-83EA-4121-882B-309D53ACA06D}" srcOrd="2" destOrd="0" parTransId="{5C2D0FC0-0792-4DA9-9D0A-04E4B190ACFA}" sibTransId="{2042FC5E-7608-4383-A404-88D612AA1CE5}"/>
    <dgm:cxn modelId="{5E4454CD-0889-4F09-9569-66F0357F3D55}" type="presOf" srcId="{ACAFD9A1-83EA-4121-882B-309D53ACA06D}" destId="{0AEA479B-0C44-4981-9E89-E893702EFCA2}" srcOrd="0" destOrd="0" presId="urn:microsoft.com/office/officeart/2005/8/layout/vList2"/>
    <dgm:cxn modelId="{9DE573D6-6994-4DA9-BD90-13C2BB346D93}" type="presOf" srcId="{EEE0DA9A-D942-8F47-929B-2343843C0B47}" destId="{E8ABFFE9-82D4-1344-A286-D3B47991F50F}" srcOrd="0" destOrd="0" presId="urn:microsoft.com/office/officeart/2005/8/layout/vList2"/>
    <dgm:cxn modelId="{4E729CDF-76CB-4FFA-8CFF-9908D09101B1}" type="presOf" srcId="{09D00000-01E4-7240-B3B5-9EF2BDA8456C}" destId="{535D7656-D78E-754D-8A42-41023379A793}" srcOrd="0" destOrd="0" presId="urn:microsoft.com/office/officeart/2005/8/layout/vList2"/>
    <dgm:cxn modelId="{255A76EE-2D75-4363-81B6-4A8E0DB7A4D7}" srcId="{09D00000-01E4-7240-B3B5-9EF2BDA8456C}" destId="{AB3284A4-5C17-4B33-B0AE-E629DF1D4121}" srcOrd="3" destOrd="0" parTransId="{07F4F338-F453-456F-B396-76F6A9692AA9}" sibTransId="{09605F51-6563-4A3D-9323-A0AFBFA89E49}"/>
    <dgm:cxn modelId="{1366D4F8-DE75-42F3-B876-C6F1F3EBC6BF}" srcId="{09D00000-01E4-7240-B3B5-9EF2BDA8456C}" destId="{B849FD6F-3DD4-4AC3-9072-6C16942DB6A9}" srcOrd="8" destOrd="0" parTransId="{0CA1607E-CAA4-4F13-B35E-5A17151B3623}" sibTransId="{19067F72-C1FD-4B43-B3F6-348C2C285A6E}"/>
    <dgm:cxn modelId="{9E44D032-E63D-4C17-839C-31378908909A}" type="presParOf" srcId="{535D7656-D78E-754D-8A42-41023379A793}" destId="{EB766CDB-92AB-7D43-8D75-3B0260F1D040}" srcOrd="0" destOrd="0" presId="urn:microsoft.com/office/officeart/2005/8/layout/vList2"/>
    <dgm:cxn modelId="{6FC3D382-B71F-4ED7-B72E-BD6993CEE949}" type="presParOf" srcId="{535D7656-D78E-754D-8A42-41023379A793}" destId="{93D9FBCF-CE91-FC4F-A175-C58CE81F5B61}" srcOrd="1" destOrd="0" presId="urn:microsoft.com/office/officeart/2005/8/layout/vList2"/>
    <dgm:cxn modelId="{03B0D9A4-7BE9-4003-8421-5A6534E50897}" type="presParOf" srcId="{535D7656-D78E-754D-8A42-41023379A793}" destId="{E8ABFFE9-82D4-1344-A286-D3B47991F50F}" srcOrd="2" destOrd="0" presId="urn:microsoft.com/office/officeart/2005/8/layout/vList2"/>
    <dgm:cxn modelId="{2E8238AF-86F7-4D85-8592-D06FE2BCB653}" type="presParOf" srcId="{535D7656-D78E-754D-8A42-41023379A793}" destId="{AE8ABF48-4384-4AA7-B63F-C6C93D34EE34}" srcOrd="3" destOrd="0" presId="urn:microsoft.com/office/officeart/2005/8/layout/vList2"/>
    <dgm:cxn modelId="{8AD6D7D8-6837-4741-A27E-C1CCB5E2AB46}" type="presParOf" srcId="{535D7656-D78E-754D-8A42-41023379A793}" destId="{0AEA479B-0C44-4981-9E89-E893702EFCA2}" srcOrd="4" destOrd="0" presId="urn:microsoft.com/office/officeart/2005/8/layout/vList2"/>
    <dgm:cxn modelId="{14B0A1E4-A410-4123-9034-16EF824C9634}" type="presParOf" srcId="{535D7656-D78E-754D-8A42-41023379A793}" destId="{D7CE2BF2-1E47-4ED7-9C7F-0B73383DBBA4}" srcOrd="5" destOrd="0" presId="urn:microsoft.com/office/officeart/2005/8/layout/vList2"/>
    <dgm:cxn modelId="{0EA501F0-330B-4382-B043-F56D5C42A7F9}" type="presParOf" srcId="{535D7656-D78E-754D-8A42-41023379A793}" destId="{FE8200D6-8CDA-4508-BB73-692B8F37239F}" srcOrd="6" destOrd="0" presId="urn:microsoft.com/office/officeart/2005/8/layout/vList2"/>
    <dgm:cxn modelId="{B81DCAC6-ABB3-4E52-9D6A-5D5FD7CC5D86}" type="presParOf" srcId="{535D7656-D78E-754D-8A42-41023379A793}" destId="{4DB215E5-3526-4B5A-8A0B-9BEA91528D7C}" srcOrd="7" destOrd="0" presId="urn:microsoft.com/office/officeart/2005/8/layout/vList2"/>
    <dgm:cxn modelId="{82E34622-28EB-4D03-8A99-A7C48B5DC3A0}" type="presParOf" srcId="{535D7656-D78E-754D-8A42-41023379A793}" destId="{5D5C00B6-09B0-4235-93BB-BEF88DCD3C5E}" srcOrd="8" destOrd="0" presId="urn:microsoft.com/office/officeart/2005/8/layout/vList2"/>
    <dgm:cxn modelId="{443F6EC1-1D51-43B5-B871-2AE0FF0FAB35}" type="presParOf" srcId="{535D7656-D78E-754D-8A42-41023379A793}" destId="{2AE3F358-2F51-4E5A-915E-48586D79F841}" srcOrd="9" destOrd="0" presId="urn:microsoft.com/office/officeart/2005/8/layout/vList2"/>
    <dgm:cxn modelId="{114CD6F5-CF2D-441B-9088-1B47AD9D92B8}" type="presParOf" srcId="{535D7656-D78E-754D-8A42-41023379A793}" destId="{564A66EA-D62B-48E0-A24F-6040C7FD3113}" srcOrd="10" destOrd="0" presId="urn:microsoft.com/office/officeart/2005/8/layout/vList2"/>
    <dgm:cxn modelId="{20E38A4D-F251-480A-A074-DF5C22594CD6}" type="presParOf" srcId="{535D7656-D78E-754D-8A42-41023379A793}" destId="{88BF9B8A-6987-41A3-8197-38BCC62ACA97}" srcOrd="11" destOrd="0" presId="urn:microsoft.com/office/officeart/2005/8/layout/vList2"/>
    <dgm:cxn modelId="{AEA94CA1-B9DA-43AD-868A-31A9D5D0CF6E}" type="presParOf" srcId="{535D7656-D78E-754D-8A42-41023379A793}" destId="{7E5FE135-8792-4816-8766-D8D1C06F020B}" srcOrd="12" destOrd="0" presId="urn:microsoft.com/office/officeart/2005/8/layout/vList2"/>
    <dgm:cxn modelId="{FBBC24D6-78A0-40FB-8A5C-E7C8190A6AD2}" type="presParOf" srcId="{535D7656-D78E-754D-8A42-41023379A793}" destId="{CCC36AC3-AB43-4B70-AAE2-ED5CF5B805B2}" srcOrd="13" destOrd="0" presId="urn:microsoft.com/office/officeart/2005/8/layout/vList2"/>
    <dgm:cxn modelId="{0D2A237B-0E0E-4AD6-8C57-7CB1B0BF8A7D}" type="presParOf" srcId="{535D7656-D78E-754D-8A42-41023379A793}" destId="{BE58EB93-04C3-43B7-9821-8D9F0EF90A9E}" srcOrd="14" destOrd="0" presId="urn:microsoft.com/office/officeart/2005/8/layout/vList2"/>
    <dgm:cxn modelId="{81327947-EC88-400F-A224-62343BB1431A}" type="presParOf" srcId="{535D7656-D78E-754D-8A42-41023379A793}" destId="{52AF0CAB-2E2B-4FD9-9875-C06954C59EE0}" srcOrd="15" destOrd="0" presId="urn:microsoft.com/office/officeart/2005/8/layout/vList2"/>
    <dgm:cxn modelId="{E8722DB9-AF8B-4E15-8311-19BC4E36AC02}" type="presParOf" srcId="{535D7656-D78E-754D-8A42-41023379A793}" destId="{56E9E196-F14C-4637-A0F5-90CC289E7DF6}" srcOrd="16" destOrd="0" presId="urn:microsoft.com/office/officeart/2005/8/layout/vList2"/>
    <dgm:cxn modelId="{2214CEC3-3D33-46D0-9E67-44D923B33B73}" type="presParOf" srcId="{535D7656-D78E-754D-8A42-41023379A793}" destId="{3360B5A5-C839-4A36-91E1-7A1F17E177F1}" srcOrd="17" destOrd="0" presId="urn:microsoft.com/office/officeart/2005/8/layout/vList2"/>
    <dgm:cxn modelId="{14067E0B-34A9-403E-8EA1-77490873451C}" type="presParOf" srcId="{535D7656-D78E-754D-8A42-41023379A793}" destId="{34D7079A-E000-4C9C-8E74-B2CD8BB767AF}" srcOrd="1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46820562-CAC2-4C85-99E2-8556E99C088D}" type="doc">
      <dgm:prSet loTypeId="urn:microsoft.com/office/officeart/2005/8/layout/default" loCatId="list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6682C8AF-1D5A-4908-879E-B10BA2DE48BC}">
      <dgm:prSet phldrT="[Texto]"/>
      <dgm:spPr>
        <a:solidFill>
          <a:schemeClr val="accent1">
            <a:lumMod val="40000"/>
            <a:lumOff val="60000"/>
          </a:schemeClr>
        </a:solidFill>
      </dgm:spPr>
      <dgm:t>
        <a:bodyPr/>
        <a:lstStyle/>
        <a:p>
          <a:r>
            <a:rPr lang="pt-BR" b="1" dirty="0">
              <a:solidFill>
                <a:schemeClr val="tx2">
                  <a:lumMod val="50000"/>
                </a:schemeClr>
              </a:solidFill>
            </a:rPr>
            <a:t>Evento isolado</a:t>
          </a:r>
        </a:p>
      </dgm:t>
    </dgm:pt>
    <dgm:pt modelId="{8D21DA1E-C695-4087-ABEF-C4588E75456A}" type="parTrans" cxnId="{09C22EF8-02B2-4EAF-B69E-94928B9E62C3}">
      <dgm:prSet/>
      <dgm:spPr/>
      <dgm:t>
        <a:bodyPr/>
        <a:lstStyle/>
        <a:p>
          <a:endParaRPr lang="pt-BR"/>
        </a:p>
      </dgm:t>
    </dgm:pt>
    <dgm:pt modelId="{6F43FB00-7E54-405F-B2A3-F2B7A2179027}" type="sibTrans" cxnId="{09C22EF8-02B2-4EAF-B69E-94928B9E62C3}">
      <dgm:prSet/>
      <dgm:spPr/>
      <dgm:t>
        <a:bodyPr/>
        <a:lstStyle/>
        <a:p>
          <a:endParaRPr lang="pt-BR"/>
        </a:p>
      </dgm:t>
    </dgm:pt>
    <dgm:pt modelId="{BD15F5EB-3DCB-47D6-B74C-84DC5DEC133D}" type="pres">
      <dgm:prSet presAssocID="{46820562-CAC2-4C85-99E2-8556E99C088D}" presName="diagram" presStyleCnt="0">
        <dgm:presLayoutVars>
          <dgm:dir/>
          <dgm:resizeHandles val="exact"/>
        </dgm:presLayoutVars>
      </dgm:prSet>
      <dgm:spPr/>
    </dgm:pt>
    <dgm:pt modelId="{98583D8F-9051-44D8-9187-07CDD5BF4D1C}" type="pres">
      <dgm:prSet presAssocID="{6682C8AF-1D5A-4908-879E-B10BA2DE48BC}" presName="node" presStyleLbl="node1" presStyleIdx="0" presStyleCnt="1" custScaleX="126462">
        <dgm:presLayoutVars>
          <dgm:bulletEnabled val="1"/>
        </dgm:presLayoutVars>
      </dgm:prSet>
      <dgm:spPr/>
    </dgm:pt>
  </dgm:ptLst>
  <dgm:cxnLst>
    <dgm:cxn modelId="{4A3F8825-C311-4E4F-A950-2394432EAC74}" type="presOf" srcId="{46820562-CAC2-4C85-99E2-8556E99C088D}" destId="{BD15F5EB-3DCB-47D6-B74C-84DC5DEC133D}" srcOrd="0" destOrd="0" presId="urn:microsoft.com/office/officeart/2005/8/layout/default"/>
    <dgm:cxn modelId="{25044B56-2796-4CD4-9403-EDA984EA4C23}" type="presOf" srcId="{6682C8AF-1D5A-4908-879E-B10BA2DE48BC}" destId="{98583D8F-9051-44D8-9187-07CDD5BF4D1C}" srcOrd="0" destOrd="0" presId="urn:microsoft.com/office/officeart/2005/8/layout/default"/>
    <dgm:cxn modelId="{09C22EF8-02B2-4EAF-B69E-94928B9E62C3}" srcId="{46820562-CAC2-4C85-99E2-8556E99C088D}" destId="{6682C8AF-1D5A-4908-879E-B10BA2DE48BC}" srcOrd="0" destOrd="0" parTransId="{8D21DA1E-C695-4087-ABEF-C4588E75456A}" sibTransId="{6F43FB00-7E54-405F-B2A3-F2B7A2179027}"/>
    <dgm:cxn modelId="{388E90A5-DE80-4C96-99EB-423B5985C6E0}" type="presParOf" srcId="{BD15F5EB-3DCB-47D6-B74C-84DC5DEC133D}" destId="{98583D8F-9051-44D8-9187-07CDD5BF4D1C}" srcOrd="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46820562-CAC2-4C85-99E2-8556E99C088D}" type="doc">
      <dgm:prSet loTypeId="urn:microsoft.com/office/officeart/2005/8/layout/default" loCatId="list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6682C8AF-1D5A-4908-879E-B10BA2DE48BC}">
      <dgm:prSet phldrT="[Texto]"/>
      <dgm:spPr>
        <a:solidFill>
          <a:schemeClr val="accent1">
            <a:lumMod val="40000"/>
            <a:lumOff val="60000"/>
          </a:schemeClr>
        </a:solidFill>
      </dgm:spPr>
      <dgm:t>
        <a:bodyPr/>
        <a:lstStyle/>
        <a:p>
          <a:r>
            <a:rPr lang="pt-BR" dirty="0">
              <a:solidFill>
                <a:schemeClr val="tx2">
                  <a:lumMod val="50000"/>
                </a:schemeClr>
              </a:solidFill>
            </a:rPr>
            <a:t>1% RB</a:t>
          </a:r>
        </a:p>
      </dgm:t>
    </dgm:pt>
    <dgm:pt modelId="{8D21DA1E-C695-4087-ABEF-C4588E75456A}" type="parTrans" cxnId="{09C22EF8-02B2-4EAF-B69E-94928B9E62C3}">
      <dgm:prSet/>
      <dgm:spPr/>
      <dgm:t>
        <a:bodyPr/>
        <a:lstStyle/>
        <a:p>
          <a:endParaRPr lang="pt-BR"/>
        </a:p>
      </dgm:t>
    </dgm:pt>
    <dgm:pt modelId="{6F43FB00-7E54-405F-B2A3-F2B7A2179027}" type="sibTrans" cxnId="{09C22EF8-02B2-4EAF-B69E-94928B9E62C3}">
      <dgm:prSet/>
      <dgm:spPr/>
      <dgm:t>
        <a:bodyPr/>
        <a:lstStyle/>
        <a:p>
          <a:endParaRPr lang="pt-BR"/>
        </a:p>
      </dgm:t>
    </dgm:pt>
    <dgm:pt modelId="{BD15F5EB-3DCB-47D6-B74C-84DC5DEC133D}" type="pres">
      <dgm:prSet presAssocID="{46820562-CAC2-4C85-99E2-8556E99C088D}" presName="diagram" presStyleCnt="0">
        <dgm:presLayoutVars>
          <dgm:dir/>
          <dgm:resizeHandles val="exact"/>
        </dgm:presLayoutVars>
      </dgm:prSet>
      <dgm:spPr/>
    </dgm:pt>
    <dgm:pt modelId="{98583D8F-9051-44D8-9187-07CDD5BF4D1C}" type="pres">
      <dgm:prSet presAssocID="{6682C8AF-1D5A-4908-879E-B10BA2DE48BC}" presName="node" presStyleLbl="node1" presStyleIdx="0" presStyleCnt="1" custScaleX="126462">
        <dgm:presLayoutVars>
          <dgm:bulletEnabled val="1"/>
        </dgm:presLayoutVars>
      </dgm:prSet>
      <dgm:spPr/>
    </dgm:pt>
  </dgm:ptLst>
  <dgm:cxnLst>
    <dgm:cxn modelId="{4A3F8825-C311-4E4F-A950-2394432EAC74}" type="presOf" srcId="{46820562-CAC2-4C85-99E2-8556E99C088D}" destId="{BD15F5EB-3DCB-47D6-B74C-84DC5DEC133D}" srcOrd="0" destOrd="0" presId="urn:microsoft.com/office/officeart/2005/8/layout/default"/>
    <dgm:cxn modelId="{25044B56-2796-4CD4-9403-EDA984EA4C23}" type="presOf" srcId="{6682C8AF-1D5A-4908-879E-B10BA2DE48BC}" destId="{98583D8F-9051-44D8-9187-07CDD5BF4D1C}" srcOrd="0" destOrd="0" presId="urn:microsoft.com/office/officeart/2005/8/layout/default"/>
    <dgm:cxn modelId="{09C22EF8-02B2-4EAF-B69E-94928B9E62C3}" srcId="{46820562-CAC2-4C85-99E2-8556E99C088D}" destId="{6682C8AF-1D5A-4908-879E-B10BA2DE48BC}" srcOrd="0" destOrd="0" parTransId="{8D21DA1E-C695-4087-ABEF-C4588E75456A}" sibTransId="{6F43FB00-7E54-405F-B2A3-F2B7A2179027}"/>
    <dgm:cxn modelId="{388E90A5-DE80-4C96-99EB-423B5985C6E0}" type="presParOf" srcId="{BD15F5EB-3DCB-47D6-B74C-84DC5DEC133D}" destId="{98583D8F-9051-44D8-9187-07CDD5BF4D1C}" srcOrd="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9CC0A743-864C-4C4C-A6F5-353DEF64D166}" type="doc">
      <dgm:prSet loTypeId="urn:microsoft.com/office/officeart/2005/8/layout/chevron2" loCatId="list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E0B441C5-AE5B-4CF0-BAAD-8ADE7EC1F6F8}">
      <dgm:prSet phldrT="[Texto]"/>
      <dgm:spPr/>
      <dgm:t>
        <a:bodyPr/>
        <a:lstStyle/>
        <a:p>
          <a:r>
            <a:rPr lang="pt-BR" dirty="0"/>
            <a:t> </a:t>
          </a:r>
        </a:p>
      </dgm:t>
    </dgm:pt>
    <dgm:pt modelId="{3BC5C37D-0D82-41A8-BC9A-C334370D4611}" type="parTrans" cxnId="{D6D0A3F0-CCF3-439D-90E4-9FC873536086}">
      <dgm:prSet/>
      <dgm:spPr/>
      <dgm:t>
        <a:bodyPr/>
        <a:lstStyle/>
        <a:p>
          <a:endParaRPr lang="pt-BR"/>
        </a:p>
      </dgm:t>
    </dgm:pt>
    <dgm:pt modelId="{56515670-E3E2-4143-9992-0FAEFC226FF4}" type="sibTrans" cxnId="{D6D0A3F0-CCF3-439D-90E4-9FC873536086}">
      <dgm:prSet/>
      <dgm:spPr/>
      <dgm:t>
        <a:bodyPr/>
        <a:lstStyle/>
        <a:p>
          <a:endParaRPr lang="pt-BR"/>
        </a:p>
      </dgm:t>
    </dgm:pt>
    <dgm:pt modelId="{05581BE4-F654-4D16-82E8-DB5D0797DBA0}">
      <dgm:prSet phldrT="[Texto]" custT="1"/>
      <dgm:spPr/>
      <dgm:t>
        <a:bodyPr/>
        <a:lstStyle/>
        <a:p>
          <a:r>
            <a:rPr lang="pt-BR" sz="1400" dirty="0"/>
            <a:t>Decreto 20.910/1932</a:t>
          </a:r>
        </a:p>
      </dgm:t>
    </dgm:pt>
    <dgm:pt modelId="{97CEAB7B-E479-411C-B44E-FBD370C18845}" type="parTrans" cxnId="{5349712C-88E0-4FBC-8DB0-B38D25652123}">
      <dgm:prSet/>
      <dgm:spPr/>
      <dgm:t>
        <a:bodyPr/>
        <a:lstStyle/>
        <a:p>
          <a:endParaRPr lang="pt-BR"/>
        </a:p>
      </dgm:t>
    </dgm:pt>
    <dgm:pt modelId="{8C9ED9C4-EC1A-4198-A6B7-2CC7B99E9E05}" type="sibTrans" cxnId="{5349712C-88E0-4FBC-8DB0-B38D25652123}">
      <dgm:prSet/>
      <dgm:spPr/>
      <dgm:t>
        <a:bodyPr/>
        <a:lstStyle/>
        <a:p>
          <a:endParaRPr lang="pt-BR"/>
        </a:p>
      </dgm:t>
    </dgm:pt>
    <dgm:pt modelId="{FEE26A3F-E5BC-4D1A-98C7-0D1B6D6244D3}">
      <dgm:prSet phldrT="[Texto]"/>
      <dgm:spPr/>
      <dgm:t>
        <a:bodyPr/>
        <a:lstStyle/>
        <a:p>
          <a:r>
            <a:rPr lang="pt-BR" dirty="0"/>
            <a:t> </a:t>
          </a:r>
        </a:p>
      </dgm:t>
    </dgm:pt>
    <dgm:pt modelId="{4C0B5F0D-AB36-413F-9A99-02C9E440448F}" type="parTrans" cxnId="{39D1821B-47C4-4222-BF44-7D84B93784DD}">
      <dgm:prSet/>
      <dgm:spPr/>
      <dgm:t>
        <a:bodyPr/>
        <a:lstStyle/>
        <a:p>
          <a:endParaRPr lang="pt-BR"/>
        </a:p>
      </dgm:t>
    </dgm:pt>
    <dgm:pt modelId="{DDB88AC1-5374-4729-AD38-2D60E2558E42}" type="sibTrans" cxnId="{39D1821B-47C4-4222-BF44-7D84B93784DD}">
      <dgm:prSet/>
      <dgm:spPr/>
      <dgm:t>
        <a:bodyPr/>
        <a:lstStyle/>
        <a:p>
          <a:endParaRPr lang="pt-BR"/>
        </a:p>
      </dgm:t>
    </dgm:pt>
    <dgm:pt modelId="{34A6E52F-823A-4327-8377-DBF51BA0B3E1}">
      <dgm:prSet phldrT="[Texto]" custT="1"/>
      <dgm:spPr/>
      <dgm:t>
        <a:bodyPr/>
        <a:lstStyle/>
        <a:p>
          <a:r>
            <a:rPr lang="pt-BR" sz="1400" dirty="0"/>
            <a:t>Jurisprudência TCU</a:t>
          </a:r>
        </a:p>
      </dgm:t>
    </dgm:pt>
    <dgm:pt modelId="{769255D6-6751-4776-8ED6-DA44DAD25028}" type="parTrans" cxnId="{CB2B0242-5743-4DD0-89BA-5F9451E5A9A0}">
      <dgm:prSet/>
      <dgm:spPr/>
      <dgm:t>
        <a:bodyPr/>
        <a:lstStyle/>
        <a:p>
          <a:endParaRPr lang="pt-BR"/>
        </a:p>
      </dgm:t>
    </dgm:pt>
    <dgm:pt modelId="{8A508888-D8E4-4F0F-A1C8-5B1C533CA2E1}" type="sibTrans" cxnId="{CB2B0242-5743-4DD0-89BA-5F9451E5A9A0}">
      <dgm:prSet/>
      <dgm:spPr/>
      <dgm:t>
        <a:bodyPr/>
        <a:lstStyle/>
        <a:p>
          <a:endParaRPr lang="pt-BR"/>
        </a:p>
      </dgm:t>
    </dgm:pt>
    <dgm:pt modelId="{D11EA6C7-16D3-4B1B-9B50-0F7B5200FBFA}">
      <dgm:prSet phldrT="[Texto]"/>
      <dgm:spPr/>
      <dgm:t>
        <a:bodyPr/>
        <a:lstStyle/>
        <a:p>
          <a:endParaRPr lang="pt-BR" dirty="0"/>
        </a:p>
      </dgm:t>
    </dgm:pt>
    <dgm:pt modelId="{6D363536-0619-4DEF-86F2-567A36728207}" type="parTrans" cxnId="{896E3338-6B3E-40C4-AA37-A45DF299944B}">
      <dgm:prSet/>
      <dgm:spPr/>
      <dgm:t>
        <a:bodyPr/>
        <a:lstStyle/>
        <a:p>
          <a:endParaRPr lang="pt-BR"/>
        </a:p>
      </dgm:t>
    </dgm:pt>
    <dgm:pt modelId="{0CA71347-C8A1-4CA6-9030-DF73BABBD70E}" type="sibTrans" cxnId="{896E3338-6B3E-40C4-AA37-A45DF299944B}">
      <dgm:prSet/>
      <dgm:spPr/>
      <dgm:t>
        <a:bodyPr/>
        <a:lstStyle/>
        <a:p>
          <a:endParaRPr lang="pt-BR"/>
        </a:p>
      </dgm:t>
    </dgm:pt>
    <dgm:pt modelId="{0B0E01E5-6D8A-4334-9885-7AB0426CA590}">
      <dgm:prSet phldrT="[Texto]"/>
      <dgm:spPr/>
      <dgm:t>
        <a:bodyPr/>
        <a:lstStyle/>
        <a:p>
          <a:endParaRPr lang="pt-BR" dirty="0"/>
        </a:p>
      </dgm:t>
    </dgm:pt>
    <dgm:pt modelId="{23A2F6A6-A38E-4DD4-970D-1ADE393BB6EB}" type="parTrans" cxnId="{B200A6EC-A6AF-40EE-A3EB-E1D6E99CCA7D}">
      <dgm:prSet/>
      <dgm:spPr/>
      <dgm:t>
        <a:bodyPr/>
        <a:lstStyle/>
        <a:p>
          <a:endParaRPr lang="pt-BR"/>
        </a:p>
      </dgm:t>
    </dgm:pt>
    <dgm:pt modelId="{39A59B14-08F0-4B82-9268-5A3CA77E9C8E}" type="sibTrans" cxnId="{B200A6EC-A6AF-40EE-A3EB-E1D6E99CCA7D}">
      <dgm:prSet/>
      <dgm:spPr/>
      <dgm:t>
        <a:bodyPr/>
        <a:lstStyle/>
        <a:p>
          <a:endParaRPr lang="pt-BR"/>
        </a:p>
      </dgm:t>
    </dgm:pt>
    <dgm:pt modelId="{03EDC7E7-F4B6-4CCC-B2A4-F211C56815F3}">
      <dgm:prSet custT="1"/>
      <dgm:spPr/>
      <dgm:t>
        <a:bodyPr/>
        <a:lstStyle/>
        <a:p>
          <a:r>
            <a:rPr lang="pt-BR" sz="1400" dirty="0"/>
            <a:t>Doutrina administrativista</a:t>
          </a:r>
        </a:p>
      </dgm:t>
    </dgm:pt>
    <dgm:pt modelId="{25FC676B-43E8-4D2D-BA28-893BC18FB996}" type="parTrans" cxnId="{B14D6D24-574A-4FAF-9DBE-7BDC8C24DDC9}">
      <dgm:prSet/>
      <dgm:spPr/>
      <dgm:t>
        <a:bodyPr/>
        <a:lstStyle/>
        <a:p>
          <a:endParaRPr lang="pt-BR"/>
        </a:p>
      </dgm:t>
    </dgm:pt>
    <dgm:pt modelId="{73418D64-8B43-4708-9107-F7D0B93E9E39}" type="sibTrans" cxnId="{B14D6D24-574A-4FAF-9DBE-7BDC8C24DDC9}">
      <dgm:prSet/>
      <dgm:spPr/>
      <dgm:t>
        <a:bodyPr/>
        <a:lstStyle/>
        <a:p>
          <a:endParaRPr lang="pt-BR"/>
        </a:p>
      </dgm:t>
    </dgm:pt>
    <dgm:pt modelId="{AF54E50F-69E6-497E-A736-278CD29BA1DF}">
      <dgm:prSet phldrT="[Texto]" custT="1"/>
      <dgm:spPr/>
      <dgm:t>
        <a:bodyPr/>
        <a:lstStyle/>
        <a:p>
          <a:r>
            <a:rPr lang="pt-BR" sz="1400" dirty="0"/>
            <a:t>Benchmarking</a:t>
          </a:r>
          <a:r>
            <a:rPr lang="pt-BR" sz="1400" baseline="0" dirty="0"/>
            <a:t> regulatório ANTAQ (2 anos)</a:t>
          </a:r>
          <a:endParaRPr lang="pt-BR" sz="1400" dirty="0"/>
        </a:p>
      </dgm:t>
    </dgm:pt>
    <dgm:pt modelId="{9A77E696-2709-4600-9CE1-613CF6B413C9}" type="parTrans" cxnId="{11AA619E-660D-4EE2-8D69-65F3663F28DE}">
      <dgm:prSet/>
      <dgm:spPr/>
      <dgm:t>
        <a:bodyPr/>
        <a:lstStyle/>
        <a:p>
          <a:endParaRPr lang="pt-BR"/>
        </a:p>
      </dgm:t>
    </dgm:pt>
    <dgm:pt modelId="{30F6BF13-DEDB-4D49-A55E-749571B7FA45}" type="sibTrans" cxnId="{11AA619E-660D-4EE2-8D69-65F3663F28DE}">
      <dgm:prSet/>
      <dgm:spPr/>
      <dgm:t>
        <a:bodyPr/>
        <a:lstStyle/>
        <a:p>
          <a:endParaRPr lang="pt-BR"/>
        </a:p>
      </dgm:t>
    </dgm:pt>
    <dgm:pt modelId="{EC5294B2-8A9E-4095-8BB0-C134E7A4D1BD}" type="pres">
      <dgm:prSet presAssocID="{9CC0A743-864C-4C4C-A6F5-353DEF64D166}" presName="linearFlow" presStyleCnt="0">
        <dgm:presLayoutVars>
          <dgm:dir/>
          <dgm:animLvl val="lvl"/>
          <dgm:resizeHandles val="exact"/>
        </dgm:presLayoutVars>
      </dgm:prSet>
      <dgm:spPr/>
    </dgm:pt>
    <dgm:pt modelId="{517913D7-6CDC-4806-BF80-1A1A6EE45152}" type="pres">
      <dgm:prSet presAssocID="{E0B441C5-AE5B-4CF0-BAAD-8ADE7EC1F6F8}" presName="composite" presStyleCnt="0"/>
      <dgm:spPr/>
    </dgm:pt>
    <dgm:pt modelId="{D884F48A-9525-4C22-8F2A-BA2C6ABD8029}" type="pres">
      <dgm:prSet presAssocID="{E0B441C5-AE5B-4CF0-BAAD-8ADE7EC1F6F8}" presName="parentText" presStyleLbl="alignNode1" presStyleIdx="0" presStyleCnt="4">
        <dgm:presLayoutVars>
          <dgm:chMax val="1"/>
          <dgm:bulletEnabled val="1"/>
        </dgm:presLayoutVars>
      </dgm:prSet>
      <dgm:spPr/>
    </dgm:pt>
    <dgm:pt modelId="{4A90C877-0315-4D5E-9F8D-85805FEDD18E}" type="pres">
      <dgm:prSet presAssocID="{E0B441C5-AE5B-4CF0-BAAD-8ADE7EC1F6F8}" presName="descendantText" presStyleLbl="alignAcc1" presStyleIdx="0" presStyleCnt="4" custLinFactNeighborX="3381" custLinFactNeighborY="2885">
        <dgm:presLayoutVars>
          <dgm:bulletEnabled val="1"/>
        </dgm:presLayoutVars>
      </dgm:prSet>
      <dgm:spPr/>
    </dgm:pt>
    <dgm:pt modelId="{65FDB644-AE32-4190-9F13-7574D9F41D92}" type="pres">
      <dgm:prSet presAssocID="{56515670-E3E2-4143-9992-0FAEFC226FF4}" presName="sp" presStyleCnt="0"/>
      <dgm:spPr/>
    </dgm:pt>
    <dgm:pt modelId="{26A1B560-67A8-4EB5-96C2-93E4722ABBD1}" type="pres">
      <dgm:prSet presAssocID="{FEE26A3F-E5BC-4D1A-98C7-0D1B6D6244D3}" presName="composite" presStyleCnt="0"/>
      <dgm:spPr/>
    </dgm:pt>
    <dgm:pt modelId="{5243C3D5-1CCC-4D8C-BA97-1FC286302A90}" type="pres">
      <dgm:prSet presAssocID="{FEE26A3F-E5BC-4D1A-98C7-0D1B6D6244D3}" presName="parentText" presStyleLbl="alignNode1" presStyleIdx="1" presStyleCnt="4">
        <dgm:presLayoutVars>
          <dgm:chMax val="1"/>
          <dgm:bulletEnabled val="1"/>
        </dgm:presLayoutVars>
      </dgm:prSet>
      <dgm:spPr/>
    </dgm:pt>
    <dgm:pt modelId="{82AD9CBE-3857-4DFF-AEBC-0B64BE96D1D0}" type="pres">
      <dgm:prSet presAssocID="{FEE26A3F-E5BC-4D1A-98C7-0D1B6D6244D3}" presName="descendantText" presStyleLbl="alignAcc1" presStyleIdx="1" presStyleCnt="4">
        <dgm:presLayoutVars>
          <dgm:bulletEnabled val="1"/>
        </dgm:presLayoutVars>
      </dgm:prSet>
      <dgm:spPr/>
    </dgm:pt>
    <dgm:pt modelId="{DD5CC38B-272F-4EA9-A0B0-510178D1299C}" type="pres">
      <dgm:prSet presAssocID="{DDB88AC1-5374-4729-AD38-2D60E2558E42}" presName="sp" presStyleCnt="0"/>
      <dgm:spPr/>
    </dgm:pt>
    <dgm:pt modelId="{E4C962EE-B7B4-4B24-8D55-09B1A21545A5}" type="pres">
      <dgm:prSet presAssocID="{D11EA6C7-16D3-4B1B-9B50-0F7B5200FBFA}" presName="composite" presStyleCnt="0"/>
      <dgm:spPr/>
    </dgm:pt>
    <dgm:pt modelId="{A54D872D-89B4-4B99-AD95-77508C8D4D8C}" type="pres">
      <dgm:prSet presAssocID="{D11EA6C7-16D3-4B1B-9B50-0F7B5200FBFA}" presName="parentText" presStyleLbl="alignNode1" presStyleIdx="2" presStyleCnt="4">
        <dgm:presLayoutVars>
          <dgm:chMax val="1"/>
          <dgm:bulletEnabled val="1"/>
        </dgm:presLayoutVars>
      </dgm:prSet>
      <dgm:spPr/>
    </dgm:pt>
    <dgm:pt modelId="{AFFEF75E-6975-40D9-AF27-01827236D770}" type="pres">
      <dgm:prSet presAssocID="{D11EA6C7-16D3-4B1B-9B50-0F7B5200FBFA}" presName="descendantText" presStyleLbl="alignAcc1" presStyleIdx="2" presStyleCnt="4">
        <dgm:presLayoutVars>
          <dgm:bulletEnabled val="1"/>
        </dgm:presLayoutVars>
      </dgm:prSet>
      <dgm:spPr/>
    </dgm:pt>
    <dgm:pt modelId="{4985ACA4-ACB1-4902-B12F-9AC36AAFD201}" type="pres">
      <dgm:prSet presAssocID="{0CA71347-C8A1-4CA6-9030-DF73BABBD70E}" presName="sp" presStyleCnt="0"/>
      <dgm:spPr/>
    </dgm:pt>
    <dgm:pt modelId="{C0221E80-ED2A-4DA7-95EC-67CAF1AA8544}" type="pres">
      <dgm:prSet presAssocID="{0B0E01E5-6D8A-4334-9885-7AB0426CA590}" presName="composite" presStyleCnt="0"/>
      <dgm:spPr/>
    </dgm:pt>
    <dgm:pt modelId="{E725CDD1-EC67-41B6-A42E-D34CB7E86C17}" type="pres">
      <dgm:prSet presAssocID="{0B0E01E5-6D8A-4334-9885-7AB0426CA590}" presName="parentText" presStyleLbl="alignNode1" presStyleIdx="3" presStyleCnt="4">
        <dgm:presLayoutVars>
          <dgm:chMax val="1"/>
          <dgm:bulletEnabled val="1"/>
        </dgm:presLayoutVars>
      </dgm:prSet>
      <dgm:spPr/>
    </dgm:pt>
    <dgm:pt modelId="{3BD9761E-A868-48B9-827E-D8CE2992AB1C}" type="pres">
      <dgm:prSet presAssocID="{0B0E01E5-6D8A-4334-9885-7AB0426CA590}" presName="descendantText" presStyleLbl="alignAcc1" presStyleIdx="3" presStyleCnt="4">
        <dgm:presLayoutVars>
          <dgm:bulletEnabled val="1"/>
        </dgm:presLayoutVars>
      </dgm:prSet>
      <dgm:spPr/>
    </dgm:pt>
  </dgm:ptLst>
  <dgm:cxnLst>
    <dgm:cxn modelId="{7BC94617-C1F4-43D5-A2C6-635E94303D56}" type="presOf" srcId="{0B0E01E5-6D8A-4334-9885-7AB0426CA590}" destId="{E725CDD1-EC67-41B6-A42E-D34CB7E86C17}" srcOrd="0" destOrd="0" presId="urn:microsoft.com/office/officeart/2005/8/layout/chevron2"/>
    <dgm:cxn modelId="{39D1821B-47C4-4222-BF44-7D84B93784DD}" srcId="{9CC0A743-864C-4C4C-A6F5-353DEF64D166}" destId="{FEE26A3F-E5BC-4D1A-98C7-0D1B6D6244D3}" srcOrd="1" destOrd="0" parTransId="{4C0B5F0D-AB36-413F-9A99-02C9E440448F}" sibTransId="{DDB88AC1-5374-4729-AD38-2D60E2558E42}"/>
    <dgm:cxn modelId="{B14D6D24-574A-4FAF-9DBE-7BDC8C24DDC9}" srcId="{0B0E01E5-6D8A-4334-9885-7AB0426CA590}" destId="{03EDC7E7-F4B6-4CCC-B2A4-F211C56815F3}" srcOrd="0" destOrd="0" parTransId="{25FC676B-43E8-4D2D-BA28-893BC18FB996}" sibTransId="{73418D64-8B43-4708-9107-F7D0B93E9E39}"/>
    <dgm:cxn modelId="{5349712C-88E0-4FBC-8DB0-B38D25652123}" srcId="{E0B441C5-AE5B-4CF0-BAAD-8ADE7EC1F6F8}" destId="{05581BE4-F654-4D16-82E8-DB5D0797DBA0}" srcOrd="0" destOrd="0" parTransId="{97CEAB7B-E479-411C-B44E-FBD370C18845}" sibTransId="{8C9ED9C4-EC1A-4198-A6B7-2CC7B99E9E05}"/>
    <dgm:cxn modelId="{896E3338-6B3E-40C4-AA37-A45DF299944B}" srcId="{9CC0A743-864C-4C4C-A6F5-353DEF64D166}" destId="{D11EA6C7-16D3-4B1B-9B50-0F7B5200FBFA}" srcOrd="2" destOrd="0" parTransId="{6D363536-0619-4DEF-86F2-567A36728207}" sibTransId="{0CA71347-C8A1-4CA6-9030-DF73BABBD70E}"/>
    <dgm:cxn modelId="{CB2B0242-5743-4DD0-89BA-5F9451E5A9A0}" srcId="{FEE26A3F-E5BC-4D1A-98C7-0D1B6D6244D3}" destId="{34A6E52F-823A-4327-8377-DBF51BA0B3E1}" srcOrd="0" destOrd="0" parTransId="{769255D6-6751-4776-8ED6-DA44DAD25028}" sibTransId="{8A508888-D8E4-4F0F-A1C8-5B1C533CA2E1}"/>
    <dgm:cxn modelId="{051AB679-1978-41CB-8D11-2B66A7784C41}" type="presOf" srcId="{9CC0A743-864C-4C4C-A6F5-353DEF64D166}" destId="{EC5294B2-8A9E-4095-8BB0-C134E7A4D1BD}" srcOrd="0" destOrd="0" presId="urn:microsoft.com/office/officeart/2005/8/layout/chevron2"/>
    <dgm:cxn modelId="{42D0F179-4C7B-45A0-ABF3-157AC489C490}" type="presOf" srcId="{D11EA6C7-16D3-4B1B-9B50-0F7B5200FBFA}" destId="{A54D872D-89B4-4B99-AD95-77508C8D4D8C}" srcOrd="0" destOrd="0" presId="urn:microsoft.com/office/officeart/2005/8/layout/chevron2"/>
    <dgm:cxn modelId="{711C5D8C-22E4-46F6-A26B-B14837AB3891}" type="presOf" srcId="{FEE26A3F-E5BC-4D1A-98C7-0D1B6D6244D3}" destId="{5243C3D5-1CCC-4D8C-BA97-1FC286302A90}" srcOrd="0" destOrd="0" presId="urn:microsoft.com/office/officeart/2005/8/layout/chevron2"/>
    <dgm:cxn modelId="{0C957995-33DD-4AE8-9FF5-5061EFB4EABF}" type="presOf" srcId="{AF54E50F-69E6-497E-A736-278CD29BA1DF}" destId="{AFFEF75E-6975-40D9-AF27-01827236D770}" srcOrd="0" destOrd="0" presId="urn:microsoft.com/office/officeart/2005/8/layout/chevron2"/>
    <dgm:cxn modelId="{3F871D9B-FC51-490A-8849-1DAA74C2687D}" type="presOf" srcId="{E0B441C5-AE5B-4CF0-BAAD-8ADE7EC1F6F8}" destId="{D884F48A-9525-4C22-8F2A-BA2C6ABD8029}" srcOrd="0" destOrd="0" presId="urn:microsoft.com/office/officeart/2005/8/layout/chevron2"/>
    <dgm:cxn modelId="{11AA619E-660D-4EE2-8D69-65F3663F28DE}" srcId="{D11EA6C7-16D3-4B1B-9B50-0F7B5200FBFA}" destId="{AF54E50F-69E6-497E-A736-278CD29BA1DF}" srcOrd="0" destOrd="0" parTransId="{9A77E696-2709-4600-9CE1-613CF6B413C9}" sibTransId="{30F6BF13-DEDB-4D49-A55E-749571B7FA45}"/>
    <dgm:cxn modelId="{E31B30E0-8AEF-4978-A243-8C65BFBF1BD7}" type="presOf" srcId="{05581BE4-F654-4D16-82E8-DB5D0797DBA0}" destId="{4A90C877-0315-4D5E-9F8D-85805FEDD18E}" srcOrd="0" destOrd="0" presId="urn:microsoft.com/office/officeart/2005/8/layout/chevron2"/>
    <dgm:cxn modelId="{0BA41FE5-9304-4EEF-952E-9728F47AE696}" type="presOf" srcId="{03EDC7E7-F4B6-4CCC-B2A4-F211C56815F3}" destId="{3BD9761E-A868-48B9-827E-D8CE2992AB1C}" srcOrd="0" destOrd="0" presId="urn:microsoft.com/office/officeart/2005/8/layout/chevron2"/>
    <dgm:cxn modelId="{B200A6EC-A6AF-40EE-A3EB-E1D6E99CCA7D}" srcId="{9CC0A743-864C-4C4C-A6F5-353DEF64D166}" destId="{0B0E01E5-6D8A-4334-9885-7AB0426CA590}" srcOrd="3" destOrd="0" parTransId="{23A2F6A6-A38E-4DD4-970D-1ADE393BB6EB}" sibTransId="{39A59B14-08F0-4B82-9268-5A3CA77E9C8E}"/>
    <dgm:cxn modelId="{D6D0A3F0-CCF3-439D-90E4-9FC873536086}" srcId="{9CC0A743-864C-4C4C-A6F5-353DEF64D166}" destId="{E0B441C5-AE5B-4CF0-BAAD-8ADE7EC1F6F8}" srcOrd="0" destOrd="0" parTransId="{3BC5C37D-0D82-41A8-BC9A-C334370D4611}" sibTransId="{56515670-E3E2-4143-9992-0FAEFC226FF4}"/>
    <dgm:cxn modelId="{1780D3FC-5BF8-4569-86BB-DB3C105DEFB8}" type="presOf" srcId="{34A6E52F-823A-4327-8377-DBF51BA0B3E1}" destId="{82AD9CBE-3857-4DFF-AEBC-0B64BE96D1D0}" srcOrd="0" destOrd="0" presId="urn:microsoft.com/office/officeart/2005/8/layout/chevron2"/>
    <dgm:cxn modelId="{F149D583-BD8F-47E8-8AA0-188C1F1EB557}" type="presParOf" srcId="{EC5294B2-8A9E-4095-8BB0-C134E7A4D1BD}" destId="{517913D7-6CDC-4806-BF80-1A1A6EE45152}" srcOrd="0" destOrd="0" presId="urn:microsoft.com/office/officeart/2005/8/layout/chevron2"/>
    <dgm:cxn modelId="{FEF1D00A-B515-46FA-A03A-88F65BE71DB5}" type="presParOf" srcId="{517913D7-6CDC-4806-BF80-1A1A6EE45152}" destId="{D884F48A-9525-4C22-8F2A-BA2C6ABD8029}" srcOrd="0" destOrd="0" presId="urn:microsoft.com/office/officeart/2005/8/layout/chevron2"/>
    <dgm:cxn modelId="{90A3CB84-1F11-4DEB-A659-15A13127FB3D}" type="presParOf" srcId="{517913D7-6CDC-4806-BF80-1A1A6EE45152}" destId="{4A90C877-0315-4D5E-9F8D-85805FEDD18E}" srcOrd="1" destOrd="0" presId="urn:microsoft.com/office/officeart/2005/8/layout/chevron2"/>
    <dgm:cxn modelId="{517305CD-0DAF-4EFF-B88D-C71C30461F0C}" type="presParOf" srcId="{EC5294B2-8A9E-4095-8BB0-C134E7A4D1BD}" destId="{65FDB644-AE32-4190-9F13-7574D9F41D92}" srcOrd="1" destOrd="0" presId="urn:microsoft.com/office/officeart/2005/8/layout/chevron2"/>
    <dgm:cxn modelId="{7BFE0CDB-A518-4FBD-9542-C94544241884}" type="presParOf" srcId="{EC5294B2-8A9E-4095-8BB0-C134E7A4D1BD}" destId="{26A1B560-67A8-4EB5-96C2-93E4722ABBD1}" srcOrd="2" destOrd="0" presId="urn:microsoft.com/office/officeart/2005/8/layout/chevron2"/>
    <dgm:cxn modelId="{521A8F8A-FF0F-440D-849E-89DDDD9B6E49}" type="presParOf" srcId="{26A1B560-67A8-4EB5-96C2-93E4722ABBD1}" destId="{5243C3D5-1CCC-4D8C-BA97-1FC286302A90}" srcOrd="0" destOrd="0" presId="urn:microsoft.com/office/officeart/2005/8/layout/chevron2"/>
    <dgm:cxn modelId="{763F792C-40C1-40C2-B047-E0823D26131E}" type="presParOf" srcId="{26A1B560-67A8-4EB5-96C2-93E4722ABBD1}" destId="{82AD9CBE-3857-4DFF-AEBC-0B64BE96D1D0}" srcOrd="1" destOrd="0" presId="urn:microsoft.com/office/officeart/2005/8/layout/chevron2"/>
    <dgm:cxn modelId="{CAC72AC7-34A6-4A07-9D91-C616A152C20B}" type="presParOf" srcId="{EC5294B2-8A9E-4095-8BB0-C134E7A4D1BD}" destId="{DD5CC38B-272F-4EA9-A0B0-510178D1299C}" srcOrd="3" destOrd="0" presId="urn:microsoft.com/office/officeart/2005/8/layout/chevron2"/>
    <dgm:cxn modelId="{B4D6F300-8CF7-4884-B476-558011C06F28}" type="presParOf" srcId="{EC5294B2-8A9E-4095-8BB0-C134E7A4D1BD}" destId="{E4C962EE-B7B4-4B24-8D55-09B1A21545A5}" srcOrd="4" destOrd="0" presId="urn:microsoft.com/office/officeart/2005/8/layout/chevron2"/>
    <dgm:cxn modelId="{158D552C-5CFD-49D1-BE52-1AD4056394B6}" type="presParOf" srcId="{E4C962EE-B7B4-4B24-8D55-09B1A21545A5}" destId="{A54D872D-89B4-4B99-AD95-77508C8D4D8C}" srcOrd="0" destOrd="0" presId="urn:microsoft.com/office/officeart/2005/8/layout/chevron2"/>
    <dgm:cxn modelId="{406002AC-6543-4E4C-B0DD-4897D7D927FF}" type="presParOf" srcId="{E4C962EE-B7B4-4B24-8D55-09B1A21545A5}" destId="{AFFEF75E-6975-40D9-AF27-01827236D770}" srcOrd="1" destOrd="0" presId="urn:microsoft.com/office/officeart/2005/8/layout/chevron2"/>
    <dgm:cxn modelId="{8EEFA4FE-3A88-4E53-AB04-662EF1E93A43}" type="presParOf" srcId="{EC5294B2-8A9E-4095-8BB0-C134E7A4D1BD}" destId="{4985ACA4-ACB1-4902-B12F-9AC36AAFD201}" srcOrd="5" destOrd="0" presId="urn:microsoft.com/office/officeart/2005/8/layout/chevron2"/>
    <dgm:cxn modelId="{BB250FAF-FCB6-438C-8740-D27DB02A5C4A}" type="presParOf" srcId="{EC5294B2-8A9E-4095-8BB0-C134E7A4D1BD}" destId="{C0221E80-ED2A-4DA7-95EC-67CAF1AA8544}" srcOrd="6" destOrd="0" presId="urn:microsoft.com/office/officeart/2005/8/layout/chevron2"/>
    <dgm:cxn modelId="{5542D602-82FD-4F08-A55E-7032C1B67E43}" type="presParOf" srcId="{C0221E80-ED2A-4DA7-95EC-67CAF1AA8544}" destId="{E725CDD1-EC67-41B6-A42E-D34CB7E86C17}" srcOrd="0" destOrd="0" presId="urn:microsoft.com/office/officeart/2005/8/layout/chevron2"/>
    <dgm:cxn modelId="{5BFDE7B4-73F9-4242-9E3A-62AA073C6A69}" type="presParOf" srcId="{C0221E80-ED2A-4DA7-95EC-67CAF1AA8544}" destId="{3BD9761E-A868-48B9-827E-D8CE2992AB1C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46820562-CAC2-4C85-99E2-8556E99C088D}" type="doc">
      <dgm:prSet loTypeId="urn:microsoft.com/office/officeart/2005/8/layout/default" loCatId="list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BD15F5EB-3DCB-47D6-B74C-84DC5DEC133D}" type="pres">
      <dgm:prSet presAssocID="{46820562-CAC2-4C85-99E2-8556E99C088D}" presName="diagram" presStyleCnt="0">
        <dgm:presLayoutVars>
          <dgm:dir/>
          <dgm:resizeHandles val="exact"/>
        </dgm:presLayoutVars>
      </dgm:prSet>
      <dgm:spPr/>
    </dgm:pt>
  </dgm:ptLst>
  <dgm:cxnLst>
    <dgm:cxn modelId="{4A3F8825-C311-4E4F-A950-2394432EAC74}" type="presOf" srcId="{46820562-CAC2-4C85-99E2-8556E99C088D}" destId="{BD15F5EB-3DCB-47D6-B74C-84DC5DEC133D}" srcOrd="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46820562-CAC2-4C85-99E2-8556E99C088D}" type="doc">
      <dgm:prSet loTypeId="urn:microsoft.com/office/officeart/2005/8/layout/default" loCatId="list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BD15F5EB-3DCB-47D6-B74C-84DC5DEC133D}" type="pres">
      <dgm:prSet presAssocID="{46820562-CAC2-4C85-99E2-8556E99C088D}" presName="diagram" presStyleCnt="0">
        <dgm:presLayoutVars>
          <dgm:dir/>
          <dgm:resizeHandles val="exact"/>
        </dgm:presLayoutVars>
      </dgm:prSet>
      <dgm:spPr/>
    </dgm:pt>
  </dgm:ptLst>
  <dgm:cxnLst>
    <dgm:cxn modelId="{4A3F8825-C311-4E4F-A950-2394432EAC74}" type="presOf" srcId="{46820562-CAC2-4C85-99E2-8556E99C088D}" destId="{BD15F5EB-3DCB-47D6-B74C-84DC5DEC133D}" srcOrd="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46820562-CAC2-4C85-99E2-8556E99C088D}" type="doc">
      <dgm:prSet loTypeId="urn:microsoft.com/office/officeart/2005/8/layout/default" loCatId="list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BD15F5EB-3DCB-47D6-B74C-84DC5DEC133D}" type="pres">
      <dgm:prSet presAssocID="{46820562-CAC2-4C85-99E2-8556E99C088D}" presName="diagram" presStyleCnt="0">
        <dgm:presLayoutVars>
          <dgm:dir/>
          <dgm:resizeHandles val="exact"/>
        </dgm:presLayoutVars>
      </dgm:prSet>
      <dgm:spPr/>
    </dgm:pt>
  </dgm:ptLst>
  <dgm:cxnLst>
    <dgm:cxn modelId="{4A3F8825-C311-4E4F-A950-2394432EAC74}" type="presOf" srcId="{46820562-CAC2-4C85-99E2-8556E99C088D}" destId="{BD15F5EB-3DCB-47D6-B74C-84DC5DEC133D}" srcOrd="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46820562-CAC2-4C85-99E2-8556E99C088D}" type="doc">
      <dgm:prSet loTypeId="urn:microsoft.com/office/officeart/2005/8/layout/default" loCatId="list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6682C8AF-1D5A-4908-879E-B10BA2DE48BC}">
      <dgm:prSet phldrT="[Texto]"/>
      <dgm:spPr>
        <a:solidFill>
          <a:schemeClr val="accent1">
            <a:lumMod val="40000"/>
            <a:lumOff val="60000"/>
          </a:schemeClr>
        </a:solidFill>
      </dgm:spPr>
      <dgm:t>
        <a:bodyPr/>
        <a:lstStyle/>
        <a:p>
          <a:r>
            <a:rPr lang="pt-BR" dirty="0">
              <a:solidFill>
                <a:schemeClr val="tx2">
                  <a:lumMod val="50000"/>
                </a:schemeClr>
              </a:solidFill>
            </a:rPr>
            <a:t>5 anos</a:t>
          </a:r>
        </a:p>
      </dgm:t>
    </dgm:pt>
    <dgm:pt modelId="{8D21DA1E-C695-4087-ABEF-C4588E75456A}" type="parTrans" cxnId="{09C22EF8-02B2-4EAF-B69E-94928B9E62C3}">
      <dgm:prSet/>
      <dgm:spPr/>
      <dgm:t>
        <a:bodyPr/>
        <a:lstStyle/>
        <a:p>
          <a:endParaRPr lang="pt-BR"/>
        </a:p>
      </dgm:t>
    </dgm:pt>
    <dgm:pt modelId="{6F43FB00-7E54-405F-B2A3-F2B7A2179027}" type="sibTrans" cxnId="{09C22EF8-02B2-4EAF-B69E-94928B9E62C3}">
      <dgm:prSet/>
      <dgm:spPr/>
      <dgm:t>
        <a:bodyPr/>
        <a:lstStyle/>
        <a:p>
          <a:endParaRPr lang="pt-BR"/>
        </a:p>
      </dgm:t>
    </dgm:pt>
    <dgm:pt modelId="{BD15F5EB-3DCB-47D6-B74C-84DC5DEC133D}" type="pres">
      <dgm:prSet presAssocID="{46820562-CAC2-4C85-99E2-8556E99C088D}" presName="diagram" presStyleCnt="0">
        <dgm:presLayoutVars>
          <dgm:dir/>
          <dgm:resizeHandles val="exact"/>
        </dgm:presLayoutVars>
      </dgm:prSet>
      <dgm:spPr/>
    </dgm:pt>
    <dgm:pt modelId="{98583D8F-9051-44D8-9187-07CDD5BF4D1C}" type="pres">
      <dgm:prSet presAssocID="{6682C8AF-1D5A-4908-879E-B10BA2DE48BC}" presName="node" presStyleLbl="node1" presStyleIdx="0" presStyleCnt="1" custScaleX="126462" custLinFactNeighborX="-2035" custLinFactNeighborY="-8374">
        <dgm:presLayoutVars>
          <dgm:bulletEnabled val="1"/>
        </dgm:presLayoutVars>
      </dgm:prSet>
      <dgm:spPr/>
    </dgm:pt>
  </dgm:ptLst>
  <dgm:cxnLst>
    <dgm:cxn modelId="{4A3F8825-C311-4E4F-A950-2394432EAC74}" type="presOf" srcId="{46820562-CAC2-4C85-99E2-8556E99C088D}" destId="{BD15F5EB-3DCB-47D6-B74C-84DC5DEC133D}" srcOrd="0" destOrd="0" presId="urn:microsoft.com/office/officeart/2005/8/layout/default"/>
    <dgm:cxn modelId="{25044B56-2796-4CD4-9403-EDA984EA4C23}" type="presOf" srcId="{6682C8AF-1D5A-4908-879E-B10BA2DE48BC}" destId="{98583D8F-9051-44D8-9187-07CDD5BF4D1C}" srcOrd="0" destOrd="0" presId="urn:microsoft.com/office/officeart/2005/8/layout/default"/>
    <dgm:cxn modelId="{09C22EF8-02B2-4EAF-B69E-94928B9E62C3}" srcId="{46820562-CAC2-4C85-99E2-8556E99C088D}" destId="{6682C8AF-1D5A-4908-879E-B10BA2DE48BC}" srcOrd="0" destOrd="0" parTransId="{8D21DA1E-C695-4087-ABEF-C4588E75456A}" sibTransId="{6F43FB00-7E54-405F-B2A3-F2B7A2179027}"/>
    <dgm:cxn modelId="{388E90A5-DE80-4C96-99EB-423B5985C6E0}" type="presParOf" srcId="{BD15F5EB-3DCB-47D6-B74C-84DC5DEC133D}" destId="{98583D8F-9051-44D8-9187-07CDD5BF4D1C}" srcOrd="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46820562-CAC2-4C85-99E2-8556E99C088D}" type="doc">
      <dgm:prSet loTypeId="urn:microsoft.com/office/officeart/2005/8/layout/default" loCatId="list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6682C8AF-1D5A-4908-879E-B10BA2DE48BC}">
      <dgm:prSet phldrT="[Texto]"/>
      <dgm:spPr>
        <a:solidFill>
          <a:schemeClr val="accent1">
            <a:lumMod val="40000"/>
            <a:lumOff val="60000"/>
          </a:schemeClr>
        </a:solidFill>
      </dgm:spPr>
      <dgm:t>
        <a:bodyPr/>
        <a:lstStyle/>
        <a:p>
          <a:r>
            <a:rPr lang="pt-BR" dirty="0">
              <a:solidFill>
                <a:schemeClr val="tx2">
                  <a:lumMod val="50000"/>
                </a:schemeClr>
              </a:solidFill>
            </a:rPr>
            <a:t>Marco inicial: data evento</a:t>
          </a:r>
        </a:p>
      </dgm:t>
    </dgm:pt>
    <dgm:pt modelId="{8D21DA1E-C695-4087-ABEF-C4588E75456A}" type="parTrans" cxnId="{09C22EF8-02B2-4EAF-B69E-94928B9E62C3}">
      <dgm:prSet/>
      <dgm:spPr/>
      <dgm:t>
        <a:bodyPr/>
        <a:lstStyle/>
        <a:p>
          <a:endParaRPr lang="pt-BR"/>
        </a:p>
      </dgm:t>
    </dgm:pt>
    <dgm:pt modelId="{6F43FB00-7E54-405F-B2A3-F2B7A2179027}" type="sibTrans" cxnId="{09C22EF8-02B2-4EAF-B69E-94928B9E62C3}">
      <dgm:prSet/>
      <dgm:spPr/>
      <dgm:t>
        <a:bodyPr/>
        <a:lstStyle/>
        <a:p>
          <a:endParaRPr lang="pt-BR"/>
        </a:p>
      </dgm:t>
    </dgm:pt>
    <dgm:pt modelId="{BD15F5EB-3DCB-47D6-B74C-84DC5DEC133D}" type="pres">
      <dgm:prSet presAssocID="{46820562-CAC2-4C85-99E2-8556E99C088D}" presName="diagram" presStyleCnt="0">
        <dgm:presLayoutVars>
          <dgm:dir/>
          <dgm:resizeHandles val="exact"/>
        </dgm:presLayoutVars>
      </dgm:prSet>
      <dgm:spPr/>
    </dgm:pt>
    <dgm:pt modelId="{98583D8F-9051-44D8-9187-07CDD5BF4D1C}" type="pres">
      <dgm:prSet presAssocID="{6682C8AF-1D5A-4908-879E-B10BA2DE48BC}" presName="node" presStyleLbl="node1" presStyleIdx="0" presStyleCnt="1" custScaleX="126462" custLinFactNeighborX="-9078" custLinFactNeighborY="91019">
        <dgm:presLayoutVars>
          <dgm:bulletEnabled val="1"/>
        </dgm:presLayoutVars>
      </dgm:prSet>
      <dgm:spPr/>
    </dgm:pt>
  </dgm:ptLst>
  <dgm:cxnLst>
    <dgm:cxn modelId="{4A3F8825-C311-4E4F-A950-2394432EAC74}" type="presOf" srcId="{46820562-CAC2-4C85-99E2-8556E99C088D}" destId="{BD15F5EB-3DCB-47D6-B74C-84DC5DEC133D}" srcOrd="0" destOrd="0" presId="urn:microsoft.com/office/officeart/2005/8/layout/default"/>
    <dgm:cxn modelId="{25044B56-2796-4CD4-9403-EDA984EA4C23}" type="presOf" srcId="{6682C8AF-1D5A-4908-879E-B10BA2DE48BC}" destId="{98583D8F-9051-44D8-9187-07CDD5BF4D1C}" srcOrd="0" destOrd="0" presId="urn:microsoft.com/office/officeart/2005/8/layout/default"/>
    <dgm:cxn modelId="{09C22EF8-02B2-4EAF-B69E-94928B9E62C3}" srcId="{46820562-CAC2-4C85-99E2-8556E99C088D}" destId="{6682C8AF-1D5A-4908-879E-B10BA2DE48BC}" srcOrd="0" destOrd="0" parTransId="{8D21DA1E-C695-4087-ABEF-C4588E75456A}" sibTransId="{6F43FB00-7E54-405F-B2A3-F2B7A2179027}"/>
    <dgm:cxn modelId="{388E90A5-DE80-4C96-99EB-423B5985C6E0}" type="presParOf" srcId="{BD15F5EB-3DCB-47D6-B74C-84DC5DEC133D}" destId="{98583D8F-9051-44D8-9187-07CDD5BF4D1C}" srcOrd="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32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46820562-CAC2-4C85-99E2-8556E99C088D}" type="doc">
      <dgm:prSet loTypeId="urn:microsoft.com/office/officeart/2005/8/layout/default" loCatId="list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6682C8AF-1D5A-4908-879E-B10BA2DE48BC}">
      <dgm:prSet phldrT="[Texto]"/>
      <dgm:spPr>
        <a:solidFill>
          <a:schemeClr val="accent1">
            <a:lumMod val="40000"/>
            <a:lumOff val="60000"/>
          </a:schemeClr>
        </a:solidFill>
      </dgm:spPr>
      <dgm:t>
        <a:bodyPr/>
        <a:lstStyle/>
        <a:p>
          <a:r>
            <a:rPr lang="pt-BR" dirty="0">
              <a:solidFill>
                <a:schemeClr val="tx2">
                  <a:lumMod val="50000"/>
                </a:schemeClr>
              </a:solidFill>
            </a:rPr>
            <a:t>Descasamento: data do impacto</a:t>
          </a:r>
        </a:p>
      </dgm:t>
    </dgm:pt>
    <dgm:pt modelId="{8D21DA1E-C695-4087-ABEF-C4588E75456A}" type="parTrans" cxnId="{09C22EF8-02B2-4EAF-B69E-94928B9E62C3}">
      <dgm:prSet/>
      <dgm:spPr/>
      <dgm:t>
        <a:bodyPr/>
        <a:lstStyle/>
        <a:p>
          <a:endParaRPr lang="pt-BR"/>
        </a:p>
      </dgm:t>
    </dgm:pt>
    <dgm:pt modelId="{6F43FB00-7E54-405F-B2A3-F2B7A2179027}" type="sibTrans" cxnId="{09C22EF8-02B2-4EAF-B69E-94928B9E62C3}">
      <dgm:prSet/>
      <dgm:spPr/>
      <dgm:t>
        <a:bodyPr/>
        <a:lstStyle/>
        <a:p>
          <a:endParaRPr lang="pt-BR"/>
        </a:p>
      </dgm:t>
    </dgm:pt>
    <dgm:pt modelId="{BD15F5EB-3DCB-47D6-B74C-84DC5DEC133D}" type="pres">
      <dgm:prSet presAssocID="{46820562-CAC2-4C85-99E2-8556E99C088D}" presName="diagram" presStyleCnt="0">
        <dgm:presLayoutVars>
          <dgm:dir/>
          <dgm:resizeHandles val="exact"/>
        </dgm:presLayoutVars>
      </dgm:prSet>
      <dgm:spPr/>
    </dgm:pt>
    <dgm:pt modelId="{98583D8F-9051-44D8-9187-07CDD5BF4D1C}" type="pres">
      <dgm:prSet presAssocID="{6682C8AF-1D5A-4908-879E-B10BA2DE48BC}" presName="node" presStyleLbl="node1" presStyleIdx="0" presStyleCnt="1" custScaleX="126462" custLinFactY="52060" custLinFactNeighborX="-9078" custLinFactNeighborY="100000">
        <dgm:presLayoutVars>
          <dgm:bulletEnabled val="1"/>
        </dgm:presLayoutVars>
      </dgm:prSet>
      <dgm:spPr/>
    </dgm:pt>
  </dgm:ptLst>
  <dgm:cxnLst>
    <dgm:cxn modelId="{4A3F8825-C311-4E4F-A950-2394432EAC74}" type="presOf" srcId="{46820562-CAC2-4C85-99E2-8556E99C088D}" destId="{BD15F5EB-3DCB-47D6-B74C-84DC5DEC133D}" srcOrd="0" destOrd="0" presId="urn:microsoft.com/office/officeart/2005/8/layout/default"/>
    <dgm:cxn modelId="{25044B56-2796-4CD4-9403-EDA984EA4C23}" type="presOf" srcId="{6682C8AF-1D5A-4908-879E-B10BA2DE48BC}" destId="{98583D8F-9051-44D8-9187-07CDD5BF4D1C}" srcOrd="0" destOrd="0" presId="urn:microsoft.com/office/officeart/2005/8/layout/default"/>
    <dgm:cxn modelId="{09C22EF8-02B2-4EAF-B69E-94928B9E62C3}" srcId="{46820562-CAC2-4C85-99E2-8556E99C088D}" destId="{6682C8AF-1D5A-4908-879E-B10BA2DE48BC}" srcOrd="0" destOrd="0" parTransId="{8D21DA1E-C695-4087-ABEF-C4588E75456A}" sibTransId="{6F43FB00-7E54-405F-B2A3-F2B7A2179027}"/>
    <dgm:cxn modelId="{388E90A5-DE80-4C96-99EB-423B5985C6E0}" type="presParOf" srcId="{BD15F5EB-3DCB-47D6-B74C-84DC5DEC133D}" destId="{98583D8F-9051-44D8-9187-07CDD5BF4D1C}" srcOrd="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37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CD26F62B-22A9-497B-AFBA-C7EC9DBAB4F6}" type="doc">
      <dgm:prSet loTypeId="urn:microsoft.com/office/officeart/2005/8/layout/lProcess1" loCatId="process" qsTypeId="urn:microsoft.com/office/officeart/2005/8/quickstyle/simple2" qsCatId="simple" csTypeId="urn:microsoft.com/office/officeart/2005/8/colors/accent1_4" csCatId="accent1" phldr="1"/>
      <dgm:spPr/>
      <dgm:t>
        <a:bodyPr/>
        <a:lstStyle/>
        <a:p>
          <a:endParaRPr lang="pt-BR"/>
        </a:p>
      </dgm:t>
    </dgm:pt>
    <dgm:pt modelId="{A3BBE326-1ACD-45FC-B2B6-96F8507E3681}">
      <dgm:prSet phldrT="[Texto]" custT="1"/>
      <dgm:spPr/>
      <dgm:t>
        <a:bodyPr/>
        <a:lstStyle/>
        <a:p>
          <a:r>
            <a:rPr lang="pt-BR" sz="2000" b="0" dirty="0"/>
            <a:t>Apreciação e decisão dos eventos </a:t>
          </a:r>
          <a:r>
            <a:rPr lang="pt-BR" sz="2000" b="1" dirty="0"/>
            <a:t>poderá ser realizada de forma individual </a:t>
          </a:r>
          <a:r>
            <a:rPr lang="pt-BR" sz="2000" b="0" dirty="0"/>
            <a:t>ou conjunta de acordo com o objeto, a motivação ou tipificação de cada evento</a:t>
          </a:r>
        </a:p>
        <a:p>
          <a:r>
            <a:rPr lang="pt-BR" sz="2000" b="0" dirty="0"/>
            <a:t>(Art. 4º)</a:t>
          </a:r>
        </a:p>
      </dgm:t>
    </dgm:pt>
    <dgm:pt modelId="{D039B0C1-A461-47DA-BA15-10C8A5F1EC58}" type="parTrans" cxnId="{A706D507-B7A6-4C4A-9331-126227F6C043}">
      <dgm:prSet/>
      <dgm:spPr/>
      <dgm:t>
        <a:bodyPr/>
        <a:lstStyle/>
        <a:p>
          <a:endParaRPr lang="pt-BR"/>
        </a:p>
      </dgm:t>
    </dgm:pt>
    <dgm:pt modelId="{38B734E4-7942-48C5-9E85-16001B0E2C71}" type="sibTrans" cxnId="{A706D507-B7A6-4C4A-9331-126227F6C043}">
      <dgm:prSet/>
      <dgm:spPr/>
      <dgm:t>
        <a:bodyPr/>
        <a:lstStyle/>
        <a:p>
          <a:endParaRPr lang="pt-BR"/>
        </a:p>
      </dgm:t>
    </dgm:pt>
    <dgm:pt modelId="{7B0386C9-358B-49EA-AA70-01E0269A9C02}">
      <dgm:prSet phldrT="[Texto]" custT="1"/>
      <dgm:spPr/>
      <dgm:t>
        <a:bodyPr/>
        <a:lstStyle/>
        <a:p>
          <a:r>
            <a:rPr lang="pt-BR" sz="2000" dirty="0"/>
            <a:t>A Revisão Extraordinária ocorrerá de ofício ou mediante solicitação da Concessionária </a:t>
          </a:r>
        </a:p>
        <a:p>
          <a:r>
            <a:rPr lang="pt-BR" sz="2000" dirty="0"/>
            <a:t>(Art. 3º) </a:t>
          </a:r>
        </a:p>
      </dgm:t>
    </dgm:pt>
    <dgm:pt modelId="{2088FFC3-BD3A-4C04-A644-B159F3C47D8E}" type="sibTrans" cxnId="{E78B8A58-60E5-4111-8CE5-07EAF66BEBAA}">
      <dgm:prSet/>
      <dgm:spPr/>
      <dgm:t>
        <a:bodyPr/>
        <a:lstStyle/>
        <a:p>
          <a:endParaRPr lang="pt-BR" b="1"/>
        </a:p>
      </dgm:t>
    </dgm:pt>
    <dgm:pt modelId="{CB192655-B549-4044-894F-99E4D05F2E81}" type="parTrans" cxnId="{E78B8A58-60E5-4111-8CE5-07EAF66BEBAA}">
      <dgm:prSet/>
      <dgm:spPr/>
      <dgm:t>
        <a:bodyPr/>
        <a:lstStyle/>
        <a:p>
          <a:endParaRPr lang="pt-BR" b="1"/>
        </a:p>
      </dgm:t>
    </dgm:pt>
    <dgm:pt modelId="{39B78235-6B49-481E-8A69-A43D605BE618}" type="pres">
      <dgm:prSet presAssocID="{CD26F62B-22A9-497B-AFBA-C7EC9DBAB4F6}" presName="Name0" presStyleCnt="0">
        <dgm:presLayoutVars>
          <dgm:dir/>
          <dgm:animLvl val="lvl"/>
          <dgm:resizeHandles val="exact"/>
        </dgm:presLayoutVars>
      </dgm:prSet>
      <dgm:spPr/>
    </dgm:pt>
    <dgm:pt modelId="{758E73FD-0576-479E-9ADA-321117CC3559}" type="pres">
      <dgm:prSet presAssocID="{7B0386C9-358B-49EA-AA70-01E0269A9C02}" presName="vertFlow" presStyleCnt="0"/>
      <dgm:spPr/>
    </dgm:pt>
    <dgm:pt modelId="{ED4DE3DB-BE31-46FF-A4A5-8DEEA6F74C72}" type="pres">
      <dgm:prSet presAssocID="{7B0386C9-358B-49EA-AA70-01E0269A9C02}" presName="header" presStyleLbl="node1" presStyleIdx="0" presStyleCnt="1" custScaleX="319720" custScaleY="226799" custLinFactNeighborX="-965" custLinFactNeighborY="-49710"/>
      <dgm:spPr/>
    </dgm:pt>
    <dgm:pt modelId="{E15F0532-3FAE-4DC2-9656-51ED869FA9BE}" type="pres">
      <dgm:prSet presAssocID="{D039B0C1-A461-47DA-BA15-10C8A5F1EC58}" presName="parTrans" presStyleLbl="sibTrans2D1" presStyleIdx="0" presStyleCnt="1"/>
      <dgm:spPr/>
    </dgm:pt>
    <dgm:pt modelId="{6741DB6D-E1C4-424E-A855-E21E58C99B7E}" type="pres">
      <dgm:prSet presAssocID="{A3BBE326-1ACD-45FC-B2B6-96F8507E3681}" presName="child" presStyleLbl="alignAccFollowNode1" presStyleIdx="0" presStyleCnt="1" custScaleX="319720" custScaleY="218492" custLinFactNeighborY="49001">
        <dgm:presLayoutVars>
          <dgm:chMax val="0"/>
          <dgm:bulletEnabled val="1"/>
        </dgm:presLayoutVars>
      </dgm:prSet>
      <dgm:spPr/>
    </dgm:pt>
  </dgm:ptLst>
  <dgm:cxnLst>
    <dgm:cxn modelId="{A706D507-B7A6-4C4A-9331-126227F6C043}" srcId="{7B0386C9-358B-49EA-AA70-01E0269A9C02}" destId="{A3BBE326-1ACD-45FC-B2B6-96F8507E3681}" srcOrd="0" destOrd="0" parTransId="{D039B0C1-A461-47DA-BA15-10C8A5F1EC58}" sibTransId="{38B734E4-7942-48C5-9E85-16001B0E2C71}"/>
    <dgm:cxn modelId="{B6B21E4F-5241-4674-8639-9E6BB6B154C5}" type="presOf" srcId="{A3BBE326-1ACD-45FC-B2B6-96F8507E3681}" destId="{6741DB6D-E1C4-424E-A855-E21E58C99B7E}" srcOrd="0" destOrd="0" presId="urn:microsoft.com/office/officeart/2005/8/layout/lProcess1"/>
    <dgm:cxn modelId="{E78B8A58-60E5-4111-8CE5-07EAF66BEBAA}" srcId="{CD26F62B-22A9-497B-AFBA-C7EC9DBAB4F6}" destId="{7B0386C9-358B-49EA-AA70-01E0269A9C02}" srcOrd="0" destOrd="0" parTransId="{CB192655-B549-4044-894F-99E4D05F2E81}" sibTransId="{2088FFC3-BD3A-4C04-A644-B159F3C47D8E}"/>
    <dgm:cxn modelId="{44668E80-43FA-4034-B1D0-C4F2C2687711}" type="presOf" srcId="{CD26F62B-22A9-497B-AFBA-C7EC9DBAB4F6}" destId="{39B78235-6B49-481E-8A69-A43D605BE618}" srcOrd="0" destOrd="0" presId="urn:microsoft.com/office/officeart/2005/8/layout/lProcess1"/>
    <dgm:cxn modelId="{9E7AA182-9FE1-42EA-8CE4-3119DB93176B}" type="presOf" srcId="{D039B0C1-A461-47DA-BA15-10C8A5F1EC58}" destId="{E15F0532-3FAE-4DC2-9656-51ED869FA9BE}" srcOrd="0" destOrd="0" presId="urn:microsoft.com/office/officeart/2005/8/layout/lProcess1"/>
    <dgm:cxn modelId="{F21E9CCF-D806-47AD-A93B-3CE80CDC2B2F}" type="presOf" srcId="{7B0386C9-358B-49EA-AA70-01E0269A9C02}" destId="{ED4DE3DB-BE31-46FF-A4A5-8DEEA6F74C72}" srcOrd="0" destOrd="0" presId="urn:microsoft.com/office/officeart/2005/8/layout/lProcess1"/>
    <dgm:cxn modelId="{9946BCA3-E790-4172-B09B-A84B717AD810}" type="presParOf" srcId="{39B78235-6B49-481E-8A69-A43D605BE618}" destId="{758E73FD-0576-479E-9ADA-321117CC3559}" srcOrd="0" destOrd="0" presId="urn:microsoft.com/office/officeart/2005/8/layout/lProcess1"/>
    <dgm:cxn modelId="{A774AF5A-5CEB-4D08-AD33-B4C192122429}" type="presParOf" srcId="{758E73FD-0576-479E-9ADA-321117CC3559}" destId="{ED4DE3DB-BE31-46FF-A4A5-8DEEA6F74C72}" srcOrd="0" destOrd="0" presId="urn:microsoft.com/office/officeart/2005/8/layout/lProcess1"/>
    <dgm:cxn modelId="{379565CE-8698-4433-8A29-B323C61BFA95}" type="presParOf" srcId="{758E73FD-0576-479E-9ADA-321117CC3559}" destId="{E15F0532-3FAE-4DC2-9656-51ED869FA9BE}" srcOrd="1" destOrd="0" presId="urn:microsoft.com/office/officeart/2005/8/layout/lProcess1"/>
    <dgm:cxn modelId="{8F8B032E-62E8-4825-B37D-8BE6CCEE0B60}" type="presParOf" srcId="{758E73FD-0576-479E-9ADA-321117CC3559}" destId="{6741DB6D-E1C4-424E-A855-E21E58C99B7E}" srcOrd="2" destOrd="0" presId="urn:microsoft.com/office/officeart/2005/8/layout/l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8E24417-5166-417F-88CA-E1EAA1C08EDF}" type="doc">
      <dgm:prSet loTypeId="urn:microsoft.com/office/officeart/2005/8/layout/vList5" loCatId="list" qsTypeId="urn:microsoft.com/office/officeart/2005/8/quickstyle/simple2" qsCatId="simple" csTypeId="urn:microsoft.com/office/officeart/2005/8/colors/accent1_3" csCatId="accent1" phldr="1"/>
      <dgm:spPr/>
      <dgm:t>
        <a:bodyPr/>
        <a:lstStyle/>
        <a:p>
          <a:endParaRPr lang="pt-BR"/>
        </a:p>
      </dgm:t>
    </dgm:pt>
    <dgm:pt modelId="{63E53003-C21A-43AD-BA4D-9A2A203F27B0}">
      <dgm:prSet phldrT="[Texto]" custT="1"/>
      <dgm:spPr/>
      <dgm:t>
        <a:bodyPr/>
        <a:lstStyle/>
        <a:p>
          <a:r>
            <a:rPr lang="pt-BR" sz="2400" b="1" noProof="0" dirty="0">
              <a:solidFill>
                <a:schemeClr val="bg1"/>
              </a:solidFill>
              <a:latin typeface="+mj-lt"/>
            </a:rPr>
            <a:t>Proposta de resolução que substitui e revoga a Resolução 355/2015</a:t>
          </a:r>
          <a:endParaRPr lang="pt-BR" sz="2400" b="0" noProof="0" dirty="0">
            <a:solidFill>
              <a:schemeClr val="bg1"/>
            </a:solidFill>
          </a:endParaRPr>
        </a:p>
      </dgm:t>
    </dgm:pt>
    <dgm:pt modelId="{05DB31E6-051A-44D7-B85B-545FE999E0CA}" type="parTrans" cxnId="{9F624E05-8399-4452-96A8-E2A38384942C}">
      <dgm:prSet/>
      <dgm:spPr/>
      <dgm:t>
        <a:bodyPr/>
        <a:lstStyle/>
        <a:p>
          <a:endParaRPr lang="pt-BR"/>
        </a:p>
      </dgm:t>
    </dgm:pt>
    <dgm:pt modelId="{519353C5-8298-4FAB-AFEF-D4413CC37BC9}" type="sibTrans" cxnId="{9F624E05-8399-4452-96A8-E2A38384942C}">
      <dgm:prSet/>
      <dgm:spPr/>
      <dgm:t>
        <a:bodyPr/>
        <a:lstStyle/>
        <a:p>
          <a:endParaRPr lang="pt-BR"/>
        </a:p>
      </dgm:t>
    </dgm:pt>
    <dgm:pt modelId="{1A28372D-E00E-479B-856D-788D72A448A1}">
      <dgm:prSet phldrT="[Texto]" custT="1"/>
      <dgm:spPr/>
      <dgm:t>
        <a:bodyPr/>
        <a:lstStyle/>
        <a:p>
          <a:r>
            <a:rPr lang="pt-BR" sz="2400" b="1" noProof="0" dirty="0">
              <a:solidFill>
                <a:schemeClr val="bg1"/>
              </a:solidFill>
              <a:latin typeface="+mj-lt"/>
            </a:rPr>
            <a:t>Aperfeiçoamento dos procedimentos a serem adotados em caso de revisão extraordinária</a:t>
          </a:r>
          <a:endParaRPr lang="pt-BR" sz="2400" b="0" noProof="0" dirty="0">
            <a:solidFill>
              <a:schemeClr val="bg1"/>
            </a:solidFill>
          </a:endParaRPr>
        </a:p>
      </dgm:t>
    </dgm:pt>
    <dgm:pt modelId="{8C23B7C6-3424-4858-9092-E1F0482AEBEA}" type="sibTrans" cxnId="{5A4FF095-04F8-4B32-8098-19D8EAB4141A}">
      <dgm:prSet/>
      <dgm:spPr/>
      <dgm:t>
        <a:bodyPr/>
        <a:lstStyle/>
        <a:p>
          <a:endParaRPr lang="pt-BR"/>
        </a:p>
      </dgm:t>
    </dgm:pt>
    <dgm:pt modelId="{20E1C4F0-7246-48A9-9AE5-2819F088BDD9}" type="parTrans" cxnId="{5A4FF095-04F8-4B32-8098-19D8EAB4141A}">
      <dgm:prSet/>
      <dgm:spPr/>
      <dgm:t>
        <a:bodyPr/>
        <a:lstStyle/>
        <a:p>
          <a:endParaRPr lang="pt-BR"/>
        </a:p>
      </dgm:t>
    </dgm:pt>
    <dgm:pt modelId="{2AEF5431-DA26-4449-BE5E-58391598683E}" type="pres">
      <dgm:prSet presAssocID="{78E24417-5166-417F-88CA-E1EAA1C08EDF}" presName="Name0" presStyleCnt="0">
        <dgm:presLayoutVars>
          <dgm:dir/>
          <dgm:animLvl val="lvl"/>
          <dgm:resizeHandles val="exact"/>
        </dgm:presLayoutVars>
      </dgm:prSet>
      <dgm:spPr/>
    </dgm:pt>
    <dgm:pt modelId="{EDB4115D-9B56-47BA-B19A-F0E64994322A}" type="pres">
      <dgm:prSet presAssocID="{63E53003-C21A-43AD-BA4D-9A2A203F27B0}" presName="linNode" presStyleCnt="0"/>
      <dgm:spPr/>
    </dgm:pt>
    <dgm:pt modelId="{546145AC-110F-4D66-8529-655C7F0D0A67}" type="pres">
      <dgm:prSet presAssocID="{63E53003-C21A-43AD-BA4D-9A2A203F27B0}" presName="parentText" presStyleLbl="node1" presStyleIdx="0" presStyleCnt="2" custScaleX="277778" custScaleY="55741" custLinFactNeighborX="35634" custLinFactNeighborY="-7993">
        <dgm:presLayoutVars>
          <dgm:chMax val="1"/>
          <dgm:bulletEnabled val="1"/>
        </dgm:presLayoutVars>
      </dgm:prSet>
      <dgm:spPr/>
    </dgm:pt>
    <dgm:pt modelId="{781833FE-1597-4B5F-A1C9-35FBE1F5DF75}" type="pres">
      <dgm:prSet presAssocID="{519353C5-8298-4FAB-AFEF-D4413CC37BC9}" presName="sp" presStyleCnt="0"/>
      <dgm:spPr/>
    </dgm:pt>
    <dgm:pt modelId="{E1B2E6E1-AF98-4026-A6E5-129717220FBD}" type="pres">
      <dgm:prSet presAssocID="{1A28372D-E00E-479B-856D-788D72A448A1}" presName="linNode" presStyleCnt="0"/>
      <dgm:spPr/>
    </dgm:pt>
    <dgm:pt modelId="{30793766-07A7-477B-A8CC-CF7C968F4636}" type="pres">
      <dgm:prSet presAssocID="{1A28372D-E00E-479B-856D-788D72A448A1}" presName="parentText" presStyleLbl="node1" presStyleIdx="1" presStyleCnt="2" custScaleX="277778" custScaleY="55741" custLinFactNeighborX="136" custLinFactNeighborY="2782">
        <dgm:presLayoutVars>
          <dgm:chMax val="1"/>
          <dgm:bulletEnabled val="1"/>
        </dgm:presLayoutVars>
      </dgm:prSet>
      <dgm:spPr/>
    </dgm:pt>
  </dgm:ptLst>
  <dgm:cxnLst>
    <dgm:cxn modelId="{9F624E05-8399-4452-96A8-E2A38384942C}" srcId="{78E24417-5166-417F-88CA-E1EAA1C08EDF}" destId="{63E53003-C21A-43AD-BA4D-9A2A203F27B0}" srcOrd="0" destOrd="0" parTransId="{05DB31E6-051A-44D7-B85B-545FE999E0CA}" sibTransId="{519353C5-8298-4FAB-AFEF-D4413CC37BC9}"/>
    <dgm:cxn modelId="{B726FB3A-E15E-4E0A-8F23-C428F17CAC62}" type="presOf" srcId="{63E53003-C21A-43AD-BA4D-9A2A203F27B0}" destId="{546145AC-110F-4D66-8529-655C7F0D0A67}" srcOrd="0" destOrd="0" presId="urn:microsoft.com/office/officeart/2005/8/layout/vList5"/>
    <dgm:cxn modelId="{AD549080-84B5-4251-9076-508C0787F17F}" type="presOf" srcId="{78E24417-5166-417F-88CA-E1EAA1C08EDF}" destId="{2AEF5431-DA26-4449-BE5E-58391598683E}" srcOrd="0" destOrd="0" presId="urn:microsoft.com/office/officeart/2005/8/layout/vList5"/>
    <dgm:cxn modelId="{5A4FF095-04F8-4B32-8098-19D8EAB4141A}" srcId="{78E24417-5166-417F-88CA-E1EAA1C08EDF}" destId="{1A28372D-E00E-479B-856D-788D72A448A1}" srcOrd="1" destOrd="0" parTransId="{20E1C4F0-7246-48A9-9AE5-2819F088BDD9}" sibTransId="{8C23B7C6-3424-4858-9092-E1F0482AEBEA}"/>
    <dgm:cxn modelId="{CF1BFEC6-F618-4404-8730-B47414401F95}" type="presOf" srcId="{1A28372D-E00E-479B-856D-788D72A448A1}" destId="{30793766-07A7-477B-A8CC-CF7C968F4636}" srcOrd="0" destOrd="0" presId="urn:microsoft.com/office/officeart/2005/8/layout/vList5"/>
    <dgm:cxn modelId="{AA22C4BC-F635-4595-A322-253847D83618}" type="presParOf" srcId="{2AEF5431-DA26-4449-BE5E-58391598683E}" destId="{EDB4115D-9B56-47BA-B19A-F0E64994322A}" srcOrd="0" destOrd="0" presId="urn:microsoft.com/office/officeart/2005/8/layout/vList5"/>
    <dgm:cxn modelId="{4EF27943-30AF-48D5-8DF7-349A07D74EC3}" type="presParOf" srcId="{EDB4115D-9B56-47BA-B19A-F0E64994322A}" destId="{546145AC-110F-4D66-8529-655C7F0D0A67}" srcOrd="0" destOrd="0" presId="urn:microsoft.com/office/officeart/2005/8/layout/vList5"/>
    <dgm:cxn modelId="{F53B1C2B-0AE7-4FA6-B6D6-4FA3CEFC6CC8}" type="presParOf" srcId="{2AEF5431-DA26-4449-BE5E-58391598683E}" destId="{781833FE-1597-4B5F-A1C9-35FBE1F5DF75}" srcOrd="1" destOrd="0" presId="urn:microsoft.com/office/officeart/2005/8/layout/vList5"/>
    <dgm:cxn modelId="{09504C30-E330-40BD-8F01-AD08C9779B85}" type="presParOf" srcId="{2AEF5431-DA26-4449-BE5E-58391598683E}" destId="{E1B2E6E1-AF98-4026-A6E5-129717220FBD}" srcOrd="2" destOrd="0" presId="urn:microsoft.com/office/officeart/2005/8/layout/vList5"/>
    <dgm:cxn modelId="{7989BF3E-4C5A-4223-93F9-EB3468317867}" type="presParOf" srcId="{E1B2E6E1-AF98-4026-A6E5-129717220FBD}" destId="{30793766-07A7-477B-A8CC-CF7C968F4636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CD26F62B-22A9-497B-AFBA-C7EC9DBAB4F6}" type="doc">
      <dgm:prSet loTypeId="urn:microsoft.com/office/officeart/2005/8/layout/lProcess1" loCatId="process" qsTypeId="urn:microsoft.com/office/officeart/2005/8/quickstyle/simple2" qsCatId="simple" csTypeId="urn:microsoft.com/office/officeart/2005/8/colors/accent1_4" csCatId="accent1" phldr="1"/>
      <dgm:spPr/>
      <dgm:t>
        <a:bodyPr/>
        <a:lstStyle/>
        <a:p>
          <a:endParaRPr lang="pt-BR"/>
        </a:p>
      </dgm:t>
    </dgm:pt>
    <dgm:pt modelId="{A3BBE326-1ACD-45FC-B2B6-96F8507E3681}">
      <dgm:prSet phldrT="[Texto]" custT="1"/>
      <dgm:spPr/>
      <dgm:t>
        <a:bodyPr/>
        <a:lstStyle/>
        <a:p>
          <a:r>
            <a:rPr lang="pt-BR" sz="2000" b="0" dirty="0"/>
            <a:t>Conjunto de informações e cálculos realizados devem estar de acordo com as leis, normas tributárias e contábeis</a:t>
          </a:r>
        </a:p>
      </dgm:t>
    </dgm:pt>
    <dgm:pt modelId="{D039B0C1-A461-47DA-BA15-10C8A5F1EC58}" type="parTrans" cxnId="{A706D507-B7A6-4C4A-9331-126227F6C043}">
      <dgm:prSet/>
      <dgm:spPr/>
      <dgm:t>
        <a:bodyPr/>
        <a:lstStyle/>
        <a:p>
          <a:endParaRPr lang="pt-BR"/>
        </a:p>
      </dgm:t>
    </dgm:pt>
    <dgm:pt modelId="{38B734E4-7942-48C5-9E85-16001B0E2C71}" type="sibTrans" cxnId="{A706D507-B7A6-4C4A-9331-126227F6C043}">
      <dgm:prSet/>
      <dgm:spPr/>
      <dgm:t>
        <a:bodyPr/>
        <a:lstStyle/>
        <a:p>
          <a:endParaRPr lang="pt-BR"/>
        </a:p>
      </dgm:t>
    </dgm:pt>
    <dgm:pt modelId="{7B0386C9-358B-49EA-AA70-01E0269A9C02}">
      <dgm:prSet phldrT="[Texto]" custT="1"/>
      <dgm:spPr/>
      <dgm:t>
        <a:bodyPr/>
        <a:lstStyle/>
        <a:p>
          <a:r>
            <a:rPr lang="pt-BR" sz="2000" dirty="0"/>
            <a:t>Pedido de revisão tem que conter todo o conjunto de informações necessárias para que a ANAC consiga replicar seus resultados e analisar a razoabilidade das premissas envolvidas</a:t>
          </a:r>
        </a:p>
      </dgm:t>
    </dgm:pt>
    <dgm:pt modelId="{2088FFC3-BD3A-4C04-A644-B159F3C47D8E}" type="sibTrans" cxnId="{E78B8A58-60E5-4111-8CE5-07EAF66BEBAA}">
      <dgm:prSet/>
      <dgm:spPr/>
      <dgm:t>
        <a:bodyPr/>
        <a:lstStyle/>
        <a:p>
          <a:endParaRPr lang="pt-BR" b="1"/>
        </a:p>
      </dgm:t>
    </dgm:pt>
    <dgm:pt modelId="{CB192655-B549-4044-894F-99E4D05F2E81}" type="parTrans" cxnId="{E78B8A58-60E5-4111-8CE5-07EAF66BEBAA}">
      <dgm:prSet/>
      <dgm:spPr/>
      <dgm:t>
        <a:bodyPr/>
        <a:lstStyle/>
        <a:p>
          <a:endParaRPr lang="pt-BR" b="1"/>
        </a:p>
      </dgm:t>
    </dgm:pt>
    <dgm:pt modelId="{39B78235-6B49-481E-8A69-A43D605BE618}" type="pres">
      <dgm:prSet presAssocID="{CD26F62B-22A9-497B-AFBA-C7EC9DBAB4F6}" presName="Name0" presStyleCnt="0">
        <dgm:presLayoutVars>
          <dgm:dir/>
          <dgm:animLvl val="lvl"/>
          <dgm:resizeHandles val="exact"/>
        </dgm:presLayoutVars>
      </dgm:prSet>
      <dgm:spPr/>
    </dgm:pt>
    <dgm:pt modelId="{758E73FD-0576-479E-9ADA-321117CC3559}" type="pres">
      <dgm:prSet presAssocID="{7B0386C9-358B-49EA-AA70-01E0269A9C02}" presName="vertFlow" presStyleCnt="0"/>
      <dgm:spPr/>
    </dgm:pt>
    <dgm:pt modelId="{ED4DE3DB-BE31-46FF-A4A5-8DEEA6F74C72}" type="pres">
      <dgm:prSet presAssocID="{7B0386C9-358B-49EA-AA70-01E0269A9C02}" presName="header" presStyleLbl="node1" presStyleIdx="0" presStyleCnt="1" custScaleX="319720" custScaleY="143928" custLinFactNeighborX="-189" custLinFactNeighborY="13325"/>
      <dgm:spPr/>
    </dgm:pt>
    <dgm:pt modelId="{E15F0532-3FAE-4DC2-9656-51ED869FA9BE}" type="pres">
      <dgm:prSet presAssocID="{D039B0C1-A461-47DA-BA15-10C8A5F1EC58}" presName="parTrans" presStyleLbl="sibTrans2D1" presStyleIdx="0" presStyleCnt="1"/>
      <dgm:spPr/>
    </dgm:pt>
    <dgm:pt modelId="{6741DB6D-E1C4-424E-A855-E21E58C99B7E}" type="pres">
      <dgm:prSet presAssocID="{A3BBE326-1ACD-45FC-B2B6-96F8507E3681}" presName="child" presStyleLbl="alignAccFollowNode1" presStyleIdx="0" presStyleCnt="1" custScaleX="319720" custScaleY="134797" custLinFactNeighborY="84146">
        <dgm:presLayoutVars>
          <dgm:chMax val="0"/>
          <dgm:bulletEnabled val="1"/>
        </dgm:presLayoutVars>
      </dgm:prSet>
      <dgm:spPr/>
    </dgm:pt>
  </dgm:ptLst>
  <dgm:cxnLst>
    <dgm:cxn modelId="{A706D507-B7A6-4C4A-9331-126227F6C043}" srcId="{7B0386C9-358B-49EA-AA70-01E0269A9C02}" destId="{A3BBE326-1ACD-45FC-B2B6-96F8507E3681}" srcOrd="0" destOrd="0" parTransId="{D039B0C1-A461-47DA-BA15-10C8A5F1EC58}" sibTransId="{38B734E4-7942-48C5-9E85-16001B0E2C71}"/>
    <dgm:cxn modelId="{B6B21E4F-5241-4674-8639-9E6BB6B154C5}" type="presOf" srcId="{A3BBE326-1ACD-45FC-B2B6-96F8507E3681}" destId="{6741DB6D-E1C4-424E-A855-E21E58C99B7E}" srcOrd="0" destOrd="0" presId="urn:microsoft.com/office/officeart/2005/8/layout/lProcess1"/>
    <dgm:cxn modelId="{E78B8A58-60E5-4111-8CE5-07EAF66BEBAA}" srcId="{CD26F62B-22A9-497B-AFBA-C7EC9DBAB4F6}" destId="{7B0386C9-358B-49EA-AA70-01E0269A9C02}" srcOrd="0" destOrd="0" parTransId="{CB192655-B549-4044-894F-99E4D05F2E81}" sibTransId="{2088FFC3-BD3A-4C04-A644-B159F3C47D8E}"/>
    <dgm:cxn modelId="{44668E80-43FA-4034-B1D0-C4F2C2687711}" type="presOf" srcId="{CD26F62B-22A9-497B-AFBA-C7EC9DBAB4F6}" destId="{39B78235-6B49-481E-8A69-A43D605BE618}" srcOrd="0" destOrd="0" presId="urn:microsoft.com/office/officeart/2005/8/layout/lProcess1"/>
    <dgm:cxn modelId="{9E7AA182-9FE1-42EA-8CE4-3119DB93176B}" type="presOf" srcId="{D039B0C1-A461-47DA-BA15-10C8A5F1EC58}" destId="{E15F0532-3FAE-4DC2-9656-51ED869FA9BE}" srcOrd="0" destOrd="0" presId="urn:microsoft.com/office/officeart/2005/8/layout/lProcess1"/>
    <dgm:cxn modelId="{F21E9CCF-D806-47AD-A93B-3CE80CDC2B2F}" type="presOf" srcId="{7B0386C9-358B-49EA-AA70-01E0269A9C02}" destId="{ED4DE3DB-BE31-46FF-A4A5-8DEEA6F74C72}" srcOrd="0" destOrd="0" presId="urn:microsoft.com/office/officeart/2005/8/layout/lProcess1"/>
    <dgm:cxn modelId="{9946BCA3-E790-4172-B09B-A84B717AD810}" type="presParOf" srcId="{39B78235-6B49-481E-8A69-A43D605BE618}" destId="{758E73FD-0576-479E-9ADA-321117CC3559}" srcOrd="0" destOrd="0" presId="urn:microsoft.com/office/officeart/2005/8/layout/lProcess1"/>
    <dgm:cxn modelId="{A774AF5A-5CEB-4D08-AD33-B4C192122429}" type="presParOf" srcId="{758E73FD-0576-479E-9ADA-321117CC3559}" destId="{ED4DE3DB-BE31-46FF-A4A5-8DEEA6F74C72}" srcOrd="0" destOrd="0" presId="urn:microsoft.com/office/officeart/2005/8/layout/lProcess1"/>
    <dgm:cxn modelId="{379565CE-8698-4433-8A29-B323C61BFA95}" type="presParOf" srcId="{758E73FD-0576-479E-9ADA-321117CC3559}" destId="{E15F0532-3FAE-4DC2-9656-51ED869FA9BE}" srcOrd="1" destOrd="0" presId="urn:microsoft.com/office/officeart/2005/8/layout/lProcess1"/>
    <dgm:cxn modelId="{8F8B032E-62E8-4825-B37D-8BE6CCEE0B60}" type="presParOf" srcId="{758E73FD-0576-479E-9ADA-321117CC3559}" destId="{6741DB6D-E1C4-424E-A855-E21E58C99B7E}" srcOrd="2" destOrd="0" presId="urn:microsoft.com/office/officeart/2005/8/layout/l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78E24417-5166-417F-88CA-E1EAA1C08EDF}" type="doc">
      <dgm:prSet loTypeId="urn:microsoft.com/office/officeart/2005/8/layout/vList5" loCatId="list" qsTypeId="urn:microsoft.com/office/officeart/2005/8/quickstyle/simple2" qsCatId="simple" csTypeId="urn:microsoft.com/office/officeart/2005/8/colors/accent1_3" csCatId="accent1" phldr="1"/>
      <dgm:spPr/>
      <dgm:t>
        <a:bodyPr/>
        <a:lstStyle/>
        <a:p>
          <a:endParaRPr lang="pt-BR"/>
        </a:p>
      </dgm:t>
    </dgm:pt>
    <dgm:pt modelId="{B51211AD-4E37-4698-B5BE-CDDA3F060FAC}">
      <dgm:prSet phldrT="[Texto]" custT="1"/>
      <dgm:spPr/>
      <dgm:t>
        <a:bodyPr/>
        <a:lstStyle/>
        <a:p>
          <a:pPr marL="0" indent="0" algn="just">
            <a:spcAft>
              <a:spcPts val="1200"/>
            </a:spcAft>
            <a:buNone/>
          </a:pPr>
          <a:r>
            <a:rPr lang="pt-BR" altLang="pt-BR" sz="1400" dirty="0">
              <a:solidFill>
                <a:schemeClr val="tx1"/>
              </a:solidFill>
              <a:latin typeface="+mn-lt"/>
            </a:rPr>
            <a:t>Art. 7º. O pedido de Revisão Extraordinária formulado pela Concessionária deverá ser instruído com:</a:t>
          </a:r>
          <a:endParaRPr lang="pt-BR" sz="1400" b="0" i="1" dirty="0">
            <a:solidFill>
              <a:schemeClr val="tx1">
                <a:lumMod val="50000"/>
                <a:lumOff val="50000"/>
              </a:schemeClr>
            </a:solidFill>
            <a:latin typeface="+mn-lt"/>
          </a:endParaRPr>
        </a:p>
      </dgm:t>
    </dgm:pt>
    <dgm:pt modelId="{BBA57CAF-1BF1-44FC-B50F-C9213B693484}" type="parTrans" cxnId="{B7294B36-69F4-4A11-8CC0-E17042871689}">
      <dgm:prSet/>
      <dgm:spPr/>
      <dgm:t>
        <a:bodyPr/>
        <a:lstStyle/>
        <a:p>
          <a:endParaRPr lang="pt-BR"/>
        </a:p>
      </dgm:t>
    </dgm:pt>
    <dgm:pt modelId="{5F9E3690-2B35-4722-9B8E-7EE9468AA6A5}" type="sibTrans" cxnId="{B7294B36-69F4-4A11-8CC0-E17042871689}">
      <dgm:prSet/>
      <dgm:spPr/>
      <dgm:t>
        <a:bodyPr/>
        <a:lstStyle/>
        <a:p>
          <a:endParaRPr lang="pt-BR"/>
        </a:p>
      </dgm:t>
    </dgm:pt>
    <dgm:pt modelId="{AFA14602-C2C3-4993-B464-C0439617D1CE}">
      <dgm:prSet phldrT="[Texto]" custT="1"/>
      <dgm:spPr/>
      <dgm:t>
        <a:bodyPr/>
        <a:lstStyle/>
        <a:p>
          <a:r>
            <a:rPr lang="pt-BR" sz="1800" b="1" dirty="0">
              <a:latin typeface="+mn-lt"/>
            </a:rPr>
            <a:t>Proposta de redação</a:t>
          </a:r>
        </a:p>
      </dgm:t>
    </dgm:pt>
    <dgm:pt modelId="{42A43094-7D35-47B1-984C-BE7DEA83E87A}" type="sibTrans" cxnId="{1F297C19-993D-4A4E-BF0E-7C030993873D}">
      <dgm:prSet/>
      <dgm:spPr/>
      <dgm:t>
        <a:bodyPr/>
        <a:lstStyle/>
        <a:p>
          <a:endParaRPr lang="pt-BR"/>
        </a:p>
      </dgm:t>
    </dgm:pt>
    <dgm:pt modelId="{4F81E50F-F92B-4D22-A8DE-920261E3C033}" type="parTrans" cxnId="{1F297C19-993D-4A4E-BF0E-7C030993873D}">
      <dgm:prSet/>
      <dgm:spPr/>
      <dgm:t>
        <a:bodyPr/>
        <a:lstStyle/>
        <a:p>
          <a:endParaRPr lang="pt-BR"/>
        </a:p>
      </dgm:t>
    </dgm:pt>
    <dgm:pt modelId="{EC10CA4F-0198-430C-B576-EFACB6714594}">
      <dgm:prSet custT="1"/>
      <dgm:spPr/>
      <dgm:t>
        <a:bodyPr/>
        <a:lstStyle/>
        <a:p>
          <a:pPr marL="114300" indent="0" algn="just">
            <a:spcAft>
              <a:spcPts val="1200"/>
            </a:spcAft>
            <a:buNone/>
          </a:pPr>
          <a:r>
            <a:rPr lang="pt-BR" altLang="pt-BR" sz="1400" dirty="0">
              <a:solidFill>
                <a:schemeClr val="tx1"/>
              </a:solidFill>
              <a:latin typeface="+mn-lt"/>
            </a:rPr>
            <a:t>II – </a:t>
          </a:r>
          <a:r>
            <a:rPr lang="pt-BR" altLang="pt-BR" sz="1400" b="0" dirty="0">
              <a:solidFill>
                <a:schemeClr val="tx1"/>
              </a:solidFill>
              <a:latin typeface="+mn-lt"/>
            </a:rPr>
            <a:t>relatório técnico ou laudo pericial </a:t>
          </a:r>
          <a:r>
            <a:rPr lang="pt-BR" altLang="pt-BR" sz="1400" dirty="0">
              <a:solidFill>
                <a:schemeClr val="tx1"/>
              </a:solidFill>
              <a:latin typeface="+mn-lt"/>
            </a:rPr>
            <a:t>que demonstre o impacto financeiro, verificado e/ou projetado, em decorrência do evento;</a:t>
          </a:r>
        </a:p>
      </dgm:t>
    </dgm:pt>
    <dgm:pt modelId="{1A1E569C-94CD-4832-9157-39C2D3C622E0}" type="parTrans" cxnId="{519F5CAB-62CB-41DB-BF6E-257A7DE06AAB}">
      <dgm:prSet/>
      <dgm:spPr/>
      <dgm:t>
        <a:bodyPr/>
        <a:lstStyle/>
        <a:p>
          <a:endParaRPr lang="pt-BR"/>
        </a:p>
      </dgm:t>
    </dgm:pt>
    <dgm:pt modelId="{1671CD02-6FB0-4943-815A-F4D64782C83C}" type="sibTrans" cxnId="{519F5CAB-62CB-41DB-BF6E-257A7DE06AAB}">
      <dgm:prSet/>
      <dgm:spPr/>
      <dgm:t>
        <a:bodyPr/>
        <a:lstStyle/>
        <a:p>
          <a:endParaRPr lang="pt-BR"/>
        </a:p>
      </dgm:t>
    </dgm:pt>
    <dgm:pt modelId="{C438A7B5-5E52-48D5-89E9-EE3FBBC6B1A8}">
      <dgm:prSet custT="1"/>
      <dgm:spPr/>
      <dgm:t>
        <a:bodyPr/>
        <a:lstStyle/>
        <a:p>
          <a:pPr marL="114300" indent="0" algn="just">
            <a:spcAft>
              <a:spcPts val="1200"/>
            </a:spcAft>
            <a:buNone/>
          </a:pPr>
          <a:r>
            <a:rPr lang="pt-BR" altLang="pt-BR" sz="1400" dirty="0">
              <a:solidFill>
                <a:schemeClr val="tx1"/>
              </a:solidFill>
              <a:latin typeface="+mn-lt"/>
            </a:rPr>
            <a:t>III – </a:t>
          </a:r>
          <a:r>
            <a:rPr lang="pt-BR" altLang="pt-BR" sz="1400" b="1" dirty="0">
              <a:solidFill>
                <a:schemeClr val="tx1"/>
              </a:solidFill>
              <a:latin typeface="+mn-lt"/>
            </a:rPr>
            <a:t>planilha eletrônica </a:t>
          </a:r>
          <a:r>
            <a:rPr lang="pt-BR" altLang="pt-BR" sz="1400" b="0" dirty="0">
              <a:solidFill>
                <a:schemeClr val="tx1"/>
              </a:solidFill>
              <a:latin typeface="+mn-lt"/>
            </a:rPr>
            <a:t>em formato Excel</a:t>
          </a:r>
          <a:r>
            <a:rPr lang="pt-BR" altLang="pt-BR" sz="1400" dirty="0">
              <a:solidFill>
                <a:schemeClr val="tx1"/>
              </a:solidFill>
              <a:latin typeface="+mn-lt"/>
            </a:rPr>
            <a:t>, editável, que demonstre o fluxo de caixa marginal, assim como todos os documentos necessários à demonstração do cabimento do pedido;</a:t>
          </a:r>
        </a:p>
      </dgm:t>
    </dgm:pt>
    <dgm:pt modelId="{B52927CF-9C5A-415B-85E7-2227EBE02F00}" type="parTrans" cxnId="{ECBBDB07-49C8-446C-81BD-D3949A87452A}">
      <dgm:prSet/>
      <dgm:spPr/>
      <dgm:t>
        <a:bodyPr/>
        <a:lstStyle/>
        <a:p>
          <a:endParaRPr lang="pt-BR"/>
        </a:p>
      </dgm:t>
    </dgm:pt>
    <dgm:pt modelId="{085EEF27-EE85-4722-A30C-E0539279E280}" type="sibTrans" cxnId="{ECBBDB07-49C8-446C-81BD-D3949A87452A}">
      <dgm:prSet/>
      <dgm:spPr/>
      <dgm:t>
        <a:bodyPr/>
        <a:lstStyle/>
        <a:p>
          <a:endParaRPr lang="pt-BR"/>
        </a:p>
      </dgm:t>
    </dgm:pt>
    <dgm:pt modelId="{1CFF7923-12E8-43CD-9592-4605D13968DD}">
      <dgm:prSet custT="1"/>
      <dgm:spPr/>
      <dgm:t>
        <a:bodyPr/>
        <a:lstStyle/>
        <a:p>
          <a:pPr marL="114300" indent="0" algn="just">
            <a:spcAft>
              <a:spcPts val="1200"/>
            </a:spcAft>
            <a:buNone/>
          </a:pPr>
          <a:r>
            <a:rPr lang="pt-BR" altLang="pt-BR" sz="1400" dirty="0">
              <a:solidFill>
                <a:schemeClr val="tx1"/>
              </a:solidFill>
              <a:latin typeface="+mn-lt"/>
            </a:rPr>
            <a:t>IV – </a:t>
          </a:r>
          <a:r>
            <a:rPr lang="pt-BR" altLang="pt-BR" sz="1400" b="1" dirty="0">
              <a:solidFill>
                <a:schemeClr val="tx1"/>
              </a:solidFill>
              <a:latin typeface="+mn-lt"/>
            </a:rPr>
            <a:t>projeto básico </a:t>
          </a:r>
          <a:r>
            <a:rPr lang="pt-BR" altLang="pt-BR" sz="1400" dirty="0">
              <a:solidFill>
                <a:schemeClr val="tx1"/>
              </a:solidFill>
              <a:latin typeface="+mn-lt"/>
            </a:rPr>
            <a:t>com todos os elementos necessários à precificação do investimento, quando se tratar de pedidos relativos a investimentos ou serviços que envolvam a </a:t>
          </a:r>
          <a:r>
            <a:rPr lang="pt-BR" altLang="pt-BR" sz="1400" b="1" dirty="0">
              <a:solidFill>
                <a:schemeClr val="tx1"/>
              </a:solidFill>
              <a:latin typeface="+mn-lt"/>
            </a:rPr>
            <a:t>realização de obras</a:t>
          </a:r>
          <a:r>
            <a:rPr lang="pt-BR" altLang="pt-BR" sz="1400" dirty="0">
              <a:solidFill>
                <a:schemeClr val="tx1"/>
              </a:solidFill>
              <a:latin typeface="+mn-lt"/>
            </a:rPr>
            <a:t>, inclusive o orçamento analítico detalhado e outros memoriais, planos e informações que sejam  necessários à instrução do pedido, assim como deverá incluir as estimativas do impacto da obra sobre as receitas da Concessionária, segundo as melhores práticas e critérios de mercado, tudo de acordo com as normas técnicas e diretivas eventualmente estabelecidas pela ANAC sobre o tema;</a:t>
          </a:r>
        </a:p>
      </dgm:t>
    </dgm:pt>
    <dgm:pt modelId="{9F1B8382-51E7-4939-B5B6-E6A8FD9ECACF}" type="parTrans" cxnId="{04DF8C6F-28F3-4DE2-855D-9138892E61A7}">
      <dgm:prSet/>
      <dgm:spPr/>
      <dgm:t>
        <a:bodyPr/>
        <a:lstStyle/>
        <a:p>
          <a:endParaRPr lang="pt-BR"/>
        </a:p>
      </dgm:t>
    </dgm:pt>
    <dgm:pt modelId="{6B550752-FA02-478C-A3A4-CA69F77CC499}" type="sibTrans" cxnId="{04DF8C6F-28F3-4DE2-855D-9138892E61A7}">
      <dgm:prSet/>
      <dgm:spPr/>
      <dgm:t>
        <a:bodyPr/>
        <a:lstStyle/>
        <a:p>
          <a:endParaRPr lang="pt-BR"/>
        </a:p>
      </dgm:t>
    </dgm:pt>
    <dgm:pt modelId="{F12EBC4D-AAE1-4448-BF95-4D13456745E2}">
      <dgm:prSet custT="1"/>
      <dgm:spPr/>
      <dgm:t>
        <a:bodyPr/>
        <a:lstStyle/>
        <a:p>
          <a:pPr marL="114300" indent="0" algn="just">
            <a:spcAft>
              <a:spcPts val="1200"/>
            </a:spcAft>
            <a:buNone/>
          </a:pPr>
          <a:r>
            <a:rPr lang="pt-BR" altLang="pt-BR" sz="1400" dirty="0">
              <a:solidFill>
                <a:schemeClr val="tx1"/>
              </a:solidFill>
              <a:latin typeface="+mn-lt"/>
            </a:rPr>
            <a:t>V – </a:t>
          </a:r>
          <a:r>
            <a:rPr lang="pt-BR" altLang="pt-BR" sz="1400" b="0" dirty="0">
              <a:solidFill>
                <a:schemeClr val="tx1"/>
              </a:solidFill>
              <a:latin typeface="+mn-lt"/>
            </a:rPr>
            <a:t>outros documentos solicitados pela ANAC</a:t>
          </a:r>
          <a:r>
            <a:rPr lang="pt-BR" altLang="pt-BR" sz="1400" dirty="0">
              <a:solidFill>
                <a:schemeClr val="tx1"/>
              </a:solidFill>
              <a:latin typeface="+mn-lt"/>
            </a:rPr>
            <a:t>, assim como laudos econômicos específicos, elaborados por entidades independentes contratadas pela Concessionária a pedido da ANAC.</a:t>
          </a:r>
        </a:p>
      </dgm:t>
    </dgm:pt>
    <dgm:pt modelId="{9B92753C-C9CB-4330-8586-C66709872713}" type="parTrans" cxnId="{3FB8DCD0-3344-4856-9A51-25BADD363D25}">
      <dgm:prSet/>
      <dgm:spPr/>
      <dgm:t>
        <a:bodyPr/>
        <a:lstStyle/>
        <a:p>
          <a:endParaRPr lang="pt-BR"/>
        </a:p>
      </dgm:t>
    </dgm:pt>
    <dgm:pt modelId="{023986D8-7FDF-40E4-BFF4-06DC122FE873}" type="sibTrans" cxnId="{3FB8DCD0-3344-4856-9A51-25BADD363D25}">
      <dgm:prSet/>
      <dgm:spPr/>
      <dgm:t>
        <a:bodyPr/>
        <a:lstStyle/>
        <a:p>
          <a:endParaRPr lang="pt-BR"/>
        </a:p>
      </dgm:t>
    </dgm:pt>
    <dgm:pt modelId="{1557CDE7-D043-4942-876A-70A23827E972}">
      <dgm:prSet phldrT="[Texto]" custT="1"/>
      <dgm:spPr/>
      <dgm:t>
        <a:bodyPr/>
        <a:lstStyle/>
        <a:p>
          <a:pPr marL="114300" indent="0" algn="just">
            <a:spcAft>
              <a:spcPts val="1200"/>
            </a:spcAft>
            <a:buNone/>
          </a:pPr>
          <a:r>
            <a:rPr lang="pt-BR" altLang="pt-BR" sz="1400" dirty="0">
              <a:solidFill>
                <a:schemeClr val="tx1"/>
              </a:solidFill>
              <a:latin typeface="+mn-lt"/>
            </a:rPr>
            <a:t>I – </a:t>
          </a:r>
          <a:r>
            <a:rPr lang="pt-BR" altLang="pt-BR" sz="1400" b="1" dirty="0">
              <a:solidFill>
                <a:schemeClr val="tx1"/>
              </a:solidFill>
              <a:latin typeface="+mn-lt"/>
            </a:rPr>
            <a:t>identificação do risco alocado ao Poder Concedente </a:t>
          </a:r>
          <a:r>
            <a:rPr lang="pt-BR" altLang="pt-BR" sz="1400" dirty="0">
              <a:solidFill>
                <a:schemeClr val="tx1"/>
              </a:solidFill>
              <a:latin typeface="+mn-lt"/>
            </a:rPr>
            <a:t>no Contrato de Concessão que ensejou o pedido de Revisão Extraordinária;</a:t>
          </a:r>
          <a:endParaRPr lang="pt-BR" sz="1400" b="0" i="1" dirty="0">
            <a:solidFill>
              <a:schemeClr val="tx1">
                <a:lumMod val="50000"/>
                <a:lumOff val="50000"/>
              </a:schemeClr>
            </a:solidFill>
            <a:latin typeface="+mn-lt"/>
          </a:endParaRPr>
        </a:p>
      </dgm:t>
    </dgm:pt>
    <dgm:pt modelId="{A5805EAC-3259-49EF-845A-B711BEBA1DB5}" type="parTrans" cxnId="{2D092E6F-B02B-42BB-AA11-C37FDD83EFE0}">
      <dgm:prSet/>
      <dgm:spPr/>
      <dgm:t>
        <a:bodyPr/>
        <a:lstStyle/>
        <a:p>
          <a:endParaRPr lang="pt-BR"/>
        </a:p>
      </dgm:t>
    </dgm:pt>
    <dgm:pt modelId="{3B9C0EE5-D54D-4F49-9FD3-B6EA1546859B}" type="sibTrans" cxnId="{2D092E6F-B02B-42BB-AA11-C37FDD83EFE0}">
      <dgm:prSet/>
      <dgm:spPr/>
      <dgm:t>
        <a:bodyPr/>
        <a:lstStyle/>
        <a:p>
          <a:endParaRPr lang="pt-BR"/>
        </a:p>
      </dgm:t>
    </dgm:pt>
    <dgm:pt modelId="{2AEF5431-DA26-4449-BE5E-58391598683E}" type="pres">
      <dgm:prSet presAssocID="{78E24417-5166-417F-88CA-E1EAA1C08EDF}" presName="Name0" presStyleCnt="0">
        <dgm:presLayoutVars>
          <dgm:dir/>
          <dgm:animLvl val="lvl"/>
          <dgm:resizeHandles val="exact"/>
        </dgm:presLayoutVars>
      </dgm:prSet>
      <dgm:spPr/>
    </dgm:pt>
    <dgm:pt modelId="{E43D12A8-9220-4F93-BBBD-757BF2B670A9}" type="pres">
      <dgm:prSet presAssocID="{AFA14602-C2C3-4993-B464-C0439617D1CE}" presName="linNode" presStyleCnt="0"/>
      <dgm:spPr/>
    </dgm:pt>
    <dgm:pt modelId="{1C479F0B-C610-4C88-A4DB-38C5FDE7CD99}" type="pres">
      <dgm:prSet presAssocID="{AFA14602-C2C3-4993-B464-C0439617D1CE}" presName="parentText" presStyleLbl="node1" presStyleIdx="0" presStyleCnt="1" custScaleX="54905">
        <dgm:presLayoutVars>
          <dgm:chMax val="1"/>
          <dgm:bulletEnabled val="1"/>
        </dgm:presLayoutVars>
      </dgm:prSet>
      <dgm:spPr/>
    </dgm:pt>
    <dgm:pt modelId="{9B5FC0C6-3F7C-4FEA-88D9-1EFDA05882FF}" type="pres">
      <dgm:prSet presAssocID="{AFA14602-C2C3-4993-B464-C0439617D1CE}" presName="descendantText" presStyleLbl="alignAccFollowNode1" presStyleIdx="0" presStyleCnt="1" custScaleX="123575" custScaleY="125122" custLinFactNeighborY="3573">
        <dgm:presLayoutVars>
          <dgm:bulletEnabled val="1"/>
        </dgm:presLayoutVars>
      </dgm:prSet>
      <dgm:spPr/>
    </dgm:pt>
  </dgm:ptLst>
  <dgm:cxnLst>
    <dgm:cxn modelId="{ECBBDB07-49C8-446C-81BD-D3949A87452A}" srcId="{AFA14602-C2C3-4993-B464-C0439617D1CE}" destId="{C438A7B5-5E52-48D5-89E9-EE3FBBC6B1A8}" srcOrd="3" destOrd="0" parTransId="{B52927CF-9C5A-415B-85E7-2227EBE02F00}" sibTransId="{085EEF27-EE85-4722-A30C-E0539279E280}"/>
    <dgm:cxn modelId="{1F297C19-993D-4A4E-BF0E-7C030993873D}" srcId="{78E24417-5166-417F-88CA-E1EAA1C08EDF}" destId="{AFA14602-C2C3-4993-B464-C0439617D1CE}" srcOrd="0" destOrd="0" parTransId="{4F81E50F-F92B-4D22-A8DE-920261E3C033}" sibTransId="{42A43094-7D35-47B1-984C-BE7DEA83E87A}"/>
    <dgm:cxn modelId="{A7C7CA22-1A20-40BE-A25A-71EBC5C78ACB}" type="presOf" srcId="{78E24417-5166-417F-88CA-E1EAA1C08EDF}" destId="{2AEF5431-DA26-4449-BE5E-58391598683E}" srcOrd="0" destOrd="0" presId="urn:microsoft.com/office/officeart/2005/8/layout/vList5"/>
    <dgm:cxn modelId="{7A9AA324-5F6C-45EC-9EF9-FA0D3B2E0065}" type="presOf" srcId="{EC10CA4F-0198-430C-B576-EFACB6714594}" destId="{9B5FC0C6-3F7C-4FEA-88D9-1EFDA05882FF}" srcOrd="0" destOrd="2" presId="urn:microsoft.com/office/officeart/2005/8/layout/vList5"/>
    <dgm:cxn modelId="{E707B22A-539C-42D0-8948-FA57C06359E3}" type="presOf" srcId="{C438A7B5-5E52-48D5-89E9-EE3FBBC6B1A8}" destId="{9B5FC0C6-3F7C-4FEA-88D9-1EFDA05882FF}" srcOrd="0" destOrd="3" presId="urn:microsoft.com/office/officeart/2005/8/layout/vList5"/>
    <dgm:cxn modelId="{B7294B36-69F4-4A11-8CC0-E17042871689}" srcId="{AFA14602-C2C3-4993-B464-C0439617D1CE}" destId="{B51211AD-4E37-4698-B5BE-CDDA3F060FAC}" srcOrd="0" destOrd="0" parTransId="{BBA57CAF-1BF1-44FC-B50F-C9213B693484}" sibTransId="{5F9E3690-2B35-4722-9B8E-7EE9468AA6A5}"/>
    <dgm:cxn modelId="{14AB7A3E-22DB-46DE-A71A-0A95A22F2E55}" type="presOf" srcId="{1557CDE7-D043-4942-876A-70A23827E972}" destId="{9B5FC0C6-3F7C-4FEA-88D9-1EFDA05882FF}" srcOrd="0" destOrd="1" presId="urn:microsoft.com/office/officeart/2005/8/layout/vList5"/>
    <dgm:cxn modelId="{BCC48768-33DB-4060-A8C7-1597906DFE4F}" type="presOf" srcId="{1CFF7923-12E8-43CD-9592-4605D13968DD}" destId="{9B5FC0C6-3F7C-4FEA-88D9-1EFDA05882FF}" srcOrd="0" destOrd="4" presId="urn:microsoft.com/office/officeart/2005/8/layout/vList5"/>
    <dgm:cxn modelId="{2D092E6F-B02B-42BB-AA11-C37FDD83EFE0}" srcId="{AFA14602-C2C3-4993-B464-C0439617D1CE}" destId="{1557CDE7-D043-4942-876A-70A23827E972}" srcOrd="1" destOrd="0" parTransId="{A5805EAC-3259-49EF-845A-B711BEBA1DB5}" sibTransId="{3B9C0EE5-D54D-4F49-9FD3-B6EA1546859B}"/>
    <dgm:cxn modelId="{04DF8C6F-28F3-4DE2-855D-9138892E61A7}" srcId="{AFA14602-C2C3-4993-B464-C0439617D1CE}" destId="{1CFF7923-12E8-43CD-9592-4605D13968DD}" srcOrd="4" destOrd="0" parTransId="{9F1B8382-51E7-4939-B5B6-E6A8FD9ECACF}" sibTransId="{6B550752-FA02-478C-A3A4-CA69F77CC499}"/>
    <dgm:cxn modelId="{BC85F883-9CD7-4554-B01E-105ECB7D44F8}" type="presOf" srcId="{B51211AD-4E37-4698-B5BE-CDDA3F060FAC}" destId="{9B5FC0C6-3F7C-4FEA-88D9-1EFDA05882FF}" srcOrd="0" destOrd="0" presId="urn:microsoft.com/office/officeart/2005/8/layout/vList5"/>
    <dgm:cxn modelId="{519F5CAB-62CB-41DB-BF6E-257A7DE06AAB}" srcId="{AFA14602-C2C3-4993-B464-C0439617D1CE}" destId="{EC10CA4F-0198-430C-B576-EFACB6714594}" srcOrd="2" destOrd="0" parTransId="{1A1E569C-94CD-4832-9157-39C2D3C622E0}" sibTransId="{1671CD02-6FB0-4943-815A-F4D64782C83C}"/>
    <dgm:cxn modelId="{39A05FAE-FA4D-419D-A4A6-B309432725E7}" type="presOf" srcId="{F12EBC4D-AAE1-4448-BF95-4D13456745E2}" destId="{9B5FC0C6-3F7C-4FEA-88D9-1EFDA05882FF}" srcOrd="0" destOrd="5" presId="urn:microsoft.com/office/officeart/2005/8/layout/vList5"/>
    <dgm:cxn modelId="{5B80FDB0-8F0F-48C5-B227-E795372EF834}" type="presOf" srcId="{AFA14602-C2C3-4993-B464-C0439617D1CE}" destId="{1C479F0B-C610-4C88-A4DB-38C5FDE7CD99}" srcOrd="0" destOrd="0" presId="urn:microsoft.com/office/officeart/2005/8/layout/vList5"/>
    <dgm:cxn modelId="{3FB8DCD0-3344-4856-9A51-25BADD363D25}" srcId="{AFA14602-C2C3-4993-B464-C0439617D1CE}" destId="{F12EBC4D-AAE1-4448-BF95-4D13456745E2}" srcOrd="5" destOrd="0" parTransId="{9B92753C-C9CB-4330-8586-C66709872713}" sibTransId="{023986D8-7FDF-40E4-BFF4-06DC122FE873}"/>
    <dgm:cxn modelId="{942E4A1A-B859-41E1-A65A-072FE93162EF}" type="presParOf" srcId="{2AEF5431-DA26-4449-BE5E-58391598683E}" destId="{E43D12A8-9220-4F93-BBBD-757BF2B670A9}" srcOrd="0" destOrd="0" presId="urn:microsoft.com/office/officeart/2005/8/layout/vList5"/>
    <dgm:cxn modelId="{AB1B9A7E-38F5-443F-9AE8-6AF6F0D39C56}" type="presParOf" srcId="{E43D12A8-9220-4F93-BBBD-757BF2B670A9}" destId="{1C479F0B-C610-4C88-A4DB-38C5FDE7CD99}" srcOrd="0" destOrd="0" presId="urn:microsoft.com/office/officeart/2005/8/layout/vList5"/>
    <dgm:cxn modelId="{6F0714FC-2D44-4EC0-AA32-329B27DE146A}" type="presParOf" srcId="{E43D12A8-9220-4F93-BBBD-757BF2B670A9}" destId="{9B5FC0C6-3F7C-4FEA-88D9-1EFDA05882FF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2.xml><?xml version="1.0" encoding="utf-8"?>
<dgm:dataModel xmlns:dgm="http://schemas.openxmlformats.org/drawingml/2006/diagram" xmlns:a="http://schemas.openxmlformats.org/drawingml/2006/main">
  <dgm:ptLst>
    <dgm:pt modelId="{02A3A193-20C3-46FD-B559-2F91B5B90C91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1DBD155-9763-46B0-85C0-B5C383E1B51A}">
      <dgm:prSet phldrT="[Texto]" custT="1"/>
      <dgm:spPr/>
      <dgm:t>
        <a:bodyPr/>
        <a:lstStyle/>
        <a:p>
          <a:r>
            <a:rPr lang="pt-BR" sz="1600" b="1" dirty="0"/>
            <a:t>Não recebimento</a:t>
          </a:r>
        </a:p>
      </dgm:t>
    </dgm:pt>
    <dgm:pt modelId="{C322741E-733C-4AE4-81FE-CA1579E76ADC}" type="parTrans" cxnId="{55DDE68E-3E48-478B-BEDA-1FABA3BB5FD7}">
      <dgm:prSet/>
      <dgm:spPr/>
      <dgm:t>
        <a:bodyPr/>
        <a:lstStyle/>
        <a:p>
          <a:endParaRPr lang="pt-BR"/>
        </a:p>
      </dgm:t>
    </dgm:pt>
    <dgm:pt modelId="{5839B530-A0CB-4054-AFAF-6CC29CEB88B1}" type="sibTrans" cxnId="{55DDE68E-3E48-478B-BEDA-1FABA3BB5FD7}">
      <dgm:prSet/>
      <dgm:spPr/>
      <dgm:t>
        <a:bodyPr/>
        <a:lstStyle/>
        <a:p>
          <a:endParaRPr lang="pt-BR"/>
        </a:p>
      </dgm:t>
    </dgm:pt>
    <dgm:pt modelId="{D9C3B6AE-73E9-4A84-AA75-1FA1B9C19990}">
      <dgm:prSet phldrT="[Texto]"/>
      <dgm:spPr/>
      <dgm:t>
        <a:bodyPr/>
        <a:lstStyle/>
        <a:p>
          <a:pPr>
            <a:spcAft>
              <a:spcPct val="15000"/>
            </a:spcAft>
          </a:pPr>
          <a:r>
            <a:rPr lang="pt-BR" sz="1400" dirty="0"/>
            <a:t>Caso de não apresentação de itens essenciais à análise</a:t>
          </a:r>
        </a:p>
      </dgm:t>
    </dgm:pt>
    <dgm:pt modelId="{1D3FDFFC-87EE-44C5-92B0-97D9C7E1E5B1}" type="parTrans" cxnId="{B6DC30FA-4416-4982-BFA6-2F1DDA3CFF13}">
      <dgm:prSet/>
      <dgm:spPr/>
      <dgm:t>
        <a:bodyPr/>
        <a:lstStyle/>
        <a:p>
          <a:endParaRPr lang="pt-BR"/>
        </a:p>
      </dgm:t>
    </dgm:pt>
    <dgm:pt modelId="{86A05EF5-FC4D-4406-9EAD-2282B0161DC4}" type="sibTrans" cxnId="{B6DC30FA-4416-4982-BFA6-2F1DDA3CFF13}">
      <dgm:prSet/>
      <dgm:spPr/>
      <dgm:t>
        <a:bodyPr/>
        <a:lstStyle/>
        <a:p>
          <a:endParaRPr lang="pt-BR"/>
        </a:p>
      </dgm:t>
    </dgm:pt>
    <dgm:pt modelId="{2C9D01D6-D1DD-427B-AC20-78460A77A0A2}">
      <dgm:prSet phldrT="[Texto]"/>
      <dgm:spPr/>
      <dgm:t>
        <a:bodyPr/>
        <a:lstStyle/>
        <a:p>
          <a:pPr>
            <a:spcAft>
              <a:spcPct val="15000"/>
            </a:spcAft>
          </a:pPr>
          <a:r>
            <a:rPr lang="pt-BR" sz="1400" dirty="0"/>
            <a:t>Não impede novo pleito</a:t>
          </a:r>
        </a:p>
      </dgm:t>
    </dgm:pt>
    <dgm:pt modelId="{687F69A0-2097-4BD6-824F-FD1EC2DF3528}" type="parTrans" cxnId="{B658220E-BD84-4705-A363-A4DBFB243572}">
      <dgm:prSet/>
      <dgm:spPr/>
      <dgm:t>
        <a:bodyPr/>
        <a:lstStyle/>
        <a:p>
          <a:endParaRPr lang="pt-BR"/>
        </a:p>
      </dgm:t>
    </dgm:pt>
    <dgm:pt modelId="{CDF20AD8-FECD-41CF-9ED5-7D1714AD21A9}" type="sibTrans" cxnId="{B658220E-BD84-4705-A363-A4DBFB243572}">
      <dgm:prSet/>
      <dgm:spPr/>
      <dgm:t>
        <a:bodyPr/>
        <a:lstStyle/>
        <a:p>
          <a:endParaRPr lang="pt-BR"/>
        </a:p>
      </dgm:t>
    </dgm:pt>
    <dgm:pt modelId="{48611A19-EC69-4294-8D08-A66677514763}">
      <dgm:prSet phldrT="[Texto]" custT="1"/>
      <dgm:spPr/>
      <dgm:t>
        <a:bodyPr/>
        <a:lstStyle/>
        <a:p>
          <a:pPr>
            <a:spcAft>
              <a:spcPct val="15000"/>
            </a:spcAft>
          </a:pPr>
          <a:r>
            <a:rPr lang="pt-BR" sz="1200" b="1" dirty="0"/>
            <a:t>Identificação do risco alocado ao PC</a:t>
          </a:r>
        </a:p>
      </dgm:t>
    </dgm:pt>
    <dgm:pt modelId="{EF357842-37E2-4353-BACB-68FA54B8B138}" type="parTrans" cxnId="{BAA2355F-5C6E-4F77-B226-134B92A1F9B8}">
      <dgm:prSet/>
      <dgm:spPr/>
      <dgm:t>
        <a:bodyPr/>
        <a:lstStyle/>
        <a:p>
          <a:endParaRPr lang="pt-BR"/>
        </a:p>
      </dgm:t>
    </dgm:pt>
    <dgm:pt modelId="{EBF3A6B4-3D45-48E4-A4DA-B36F385AB259}" type="sibTrans" cxnId="{BAA2355F-5C6E-4F77-B226-134B92A1F9B8}">
      <dgm:prSet/>
      <dgm:spPr/>
      <dgm:t>
        <a:bodyPr/>
        <a:lstStyle/>
        <a:p>
          <a:endParaRPr lang="pt-BR"/>
        </a:p>
      </dgm:t>
    </dgm:pt>
    <dgm:pt modelId="{97688283-0F7A-46EC-B62F-9153DBF64476}">
      <dgm:prSet phldrT="[Texto]" custT="1"/>
      <dgm:spPr/>
      <dgm:t>
        <a:bodyPr/>
        <a:lstStyle/>
        <a:p>
          <a:pPr>
            <a:spcAft>
              <a:spcPts val="600"/>
            </a:spcAft>
          </a:pPr>
          <a:r>
            <a:rPr lang="pt-BR" sz="1200" b="1" dirty="0"/>
            <a:t>Planilha eletrônica editável (premissas/cálculos)</a:t>
          </a:r>
        </a:p>
      </dgm:t>
    </dgm:pt>
    <dgm:pt modelId="{1B7468C5-94CB-4BD1-AD0A-A909D3BE05B9}" type="parTrans" cxnId="{27B808C6-1BD2-4B3A-BEFB-5A5675115031}">
      <dgm:prSet/>
      <dgm:spPr/>
      <dgm:t>
        <a:bodyPr/>
        <a:lstStyle/>
        <a:p>
          <a:endParaRPr lang="pt-BR"/>
        </a:p>
      </dgm:t>
    </dgm:pt>
    <dgm:pt modelId="{EAAEB8CE-5DF4-488E-B151-A5B0368B0838}" type="sibTrans" cxnId="{27B808C6-1BD2-4B3A-BEFB-5A5675115031}">
      <dgm:prSet/>
      <dgm:spPr/>
      <dgm:t>
        <a:bodyPr/>
        <a:lstStyle/>
        <a:p>
          <a:endParaRPr lang="pt-BR"/>
        </a:p>
      </dgm:t>
    </dgm:pt>
    <dgm:pt modelId="{1316B124-685A-484A-8F16-DB3D8931A168}" type="pres">
      <dgm:prSet presAssocID="{02A3A193-20C3-46FD-B559-2F91B5B90C91}" presName="linear" presStyleCnt="0">
        <dgm:presLayoutVars>
          <dgm:dir/>
          <dgm:animLvl val="lvl"/>
          <dgm:resizeHandles val="exact"/>
        </dgm:presLayoutVars>
      </dgm:prSet>
      <dgm:spPr/>
    </dgm:pt>
    <dgm:pt modelId="{6F9E0EBC-CAC9-44EA-813A-9A490F8C5DAB}" type="pres">
      <dgm:prSet presAssocID="{41DBD155-9763-46B0-85C0-B5C383E1B51A}" presName="parentLin" presStyleCnt="0"/>
      <dgm:spPr/>
    </dgm:pt>
    <dgm:pt modelId="{5FE086A3-222E-4D11-AF66-EDB0F1DB6B9B}" type="pres">
      <dgm:prSet presAssocID="{41DBD155-9763-46B0-85C0-B5C383E1B51A}" presName="parentLeftMargin" presStyleLbl="node1" presStyleIdx="0" presStyleCnt="1"/>
      <dgm:spPr/>
    </dgm:pt>
    <dgm:pt modelId="{F3EB4FA7-A4C7-4C94-8DC2-700A8B60517C}" type="pres">
      <dgm:prSet presAssocID="{41DBD155-9763-46B0-85C0-B5C383E1B51A}" presName="parentText" presStyleLbl="node1" presStyleIdx="0" presStyleCnt="1">
        <dgm:presLayoutVars>
          <dgm:chMax val="0"/>
          <dgm:bulletEnabled val="1"/>
        </dgm:presLayoutVars>
      </dgm:prSet>
      <dgm:spPr/>
    </dgm:pt>
    <dgm:pt modelId="{0F57AB82-300D-4134-911D-F1443F1273A1}" type="pres">
      <dgm:prSet presAssocID="{41DBD155-9763-46B0-85C0-B5C383E1B51A}" presName="negativeSpace" presStyleCnt="0"/>
      <dgm:spPr/>
    </dgm:pt>
    <dgm:pt modelId="{2561F4AA-CD4B-4B84-B507-D68EDC4BADB8}" type="pres">
      <dgm:prSet presAssocID="{41DBD155-9763-46B0-85C0-B5C383E1B51A}" presName="childText" presStyleLbl="conFgAcc1" presStyleIdx="0" presStyleCnt="1">
        <dgm:presLayoutVars>
          <dgm:bulletEnabled val="1"/>
        </dgm:presLayoutVars>
      </dgm:prSet>
      <dgm:spPr/>
    </dgm:pt>
  </dgm:ptLst>
  <dgm:cxnLst>
    <dgm:cxn modelId="{B658220E-BD84-4705-A363-A4DBFB243572}" srcId="{41DBD155-9763-46B0-85C0-B5C383E1B51A}" destId="{2C9D01D6-D1DD-427B-AC20-78460A77A0A2}" srcOrd="1" destOrd="0" parTransId="{687F69A0-2097-4BD6-824F-FD1EC2DF3528}" sibTransId="{CDF20AD8-FECD-41CF-9ED5-7D1714AD21A9}"/>
    <dgm:cxn modelId="{6C2D102F-EF62-4904-BCE0-B31CC8D27954}" type="presOf" srcId="{41DBD155-9763-46B0-85C0-B5C383E1B51A}" destId="{F3EB4FA7-A4C7-4C94-8DC2-700A8B60517C}" srcOrd="1" destOrd="0" presId="urn:microsoft.com/office/officeart/2005/8/layout/list1"/>
    <dgm:cxn modelId="{1F3ED031-C181-4FE3-AA94-C28DCD451F67}" type="presOf" srcId="{02A3A193-20C3-46FD-B559-2F91B5B90C91}" destId="{1316B124-685A-484A-8F16-DB3D8931A168}" srcOrd="0" destOrd="0" presId="urn:microsoft.com/office/officeart/2005/8/layout/list1"/>
    <dgm:cxn modelId="{6EC1675B-C283-4FBC-9867-6034534680EC}" type="presOf" srcId="{2C9D01D6-D1DD-427B-AC20-78460A77A0A2}" destId="{2561F4AA-CD4B-4B84-B507-D68EDC4BADB8}" srcOrd="0" destOrd="3" presId="urn:microsoft.com/office/officeart/2005/8/layout/list1"/>
    <dgm:cxn modelId="{BAA2355F-5C6E-4F77-B226-134B92A1F9B8}" srcId="{D9C3B6AE-73E9-4A84-AA75-1FA1B9C19990}" destId="{48611A19-EC69-4294-8D08-A66677514763}" srcOrd="0" destOrd="0" parTransId="{EF357842-37E2-4353-BACB-68FA54B8B138}" sibTransId="{EBF3A6B4-3D45-48E4-A4DA-B36F385AB259}"/>
    <dgm:cxn modelId="{EFD3D14B-2F9C-470E-9111-3680F226F0D2}" type="presOf" srcId="{48611A19-EC69-4294-8D08-A66677514763}" destId="{2561F4AA-CD4B-4B84-B507-D68EDC4BADB8}" srcOrd="0" destOrd="1" presId="urn:microsoft.com/office/officeart/2005/8/layout/list1"/>
    <dgm:cxn modelId="{CDC59A6F-542E-4659-B230-A7D6F6C0C59B}" type="presOf" srcId="{97688283-0F7A-46EC-B62F-9153DBF64476}" destId="{2561F4AA-CD4B-4B84-B507-D68EDC4BADB8}" srcOrd="0" destOrd="2" presId="urn:microsoft.com/office/officeart/2005/8/layout/list1"/>
    <dgm:cxn modelId="{55DDE68E-3E48-478B-BEDA-1FABA3BB5FD7}" srcId="{02A3A193-20C3-46FD-B559-2F91B5B90C91}" destId="{41DBD155-9763-46B0-85C0-B5C383E1B51A}" srcOrd="0" destOrd="0" parTransId="{C322741E-733C-4AE4-81FE-CA1579E76ADC}" sibTransId="{5839B530-A0CB-4054-AFAF-6CC29CEB88B1}"/>
    <dgm:cxn modelId="{B9AEF190-9C5D-419A-B907-7D0C48B5C57A}" type="presOf" srcId="{D9C3B6AE-73E9-4A84-AA75-1FA1B9C19990}" destId="{2561F4AA-CD4B-4B84-B507-D68EDC4BADB8}" srcOrd="0" destOrd="0" presId="urn:microsoft.com/office/officeart/2005/8/layout/list1"/>
    <dgm:cxn modelId="{E179F6B4-70D0-4A01-8EA4-3CA703912B98}" type="presOf" srcId="{41DBD155-9763-46B0-85C0-B5C383E1B51A}" destId="{5FE086A3-222E-4D11-AF66-EDB0F1DB6B9B}" srcOrd="0" destOrd="0" presId="urn:microsoft.com/office/officeart/2005/8/layout/list1"/>
    <dgm:cxn modelId="{27B808C6-1BD2-4B3A-BEFB-5A5675115031}" srcId="{D9C3B6AE-73E9-4A84-AA75-1FA1B9C19990}" destId="{97688283-0F7A-46EC-B62F-9153DBF64476}" srcOrd="1" destOrd="0" parTransId="{1B7468C5-94CB-4BD1-AD0A-A909D3BE05B9}" sibTransId="{EAAEB8CE-5DF4-488E-B151-A5B0368B0838}"/>
    <dgm:cxn modelId="{B6DC30FA-4416-4982-BFA6-2F1DDA3CFF13}" srcId="{41DBD155-9763-46B0-85C0-B5C383E1B51A}" destId="{D9C3B6AE-73E9-4A84-AA75-1FA1B9C19990}" srcOrd="0" destOrd="0" parTransId="{1D3FDFFC-87EE-44C5-92B0-97D9C7E1E5B1}" sibTransId="{86A05EF5-FC4D-4406-9EAD-2282B0161DC4}"/>
    <dgm:cxn modelId="{FDC450AA-C5CE-4F0A-ACF3-4D8D25C2D919}" type="presParOf" srcId="{1316B124-685A-484A-8F16-DB3D8931A168}" destId="{6F9E0EBC-CAC9-44EA-813A-9A490F8C5DAB}" srcOrd="0" destOrd="0" presId="urn:microsoft.com/office/officeart/2005/8/layout/list1"/>
    <dgm:cxn modelId="{B4381988-7193-40DB-A433-16EA81001C2D}" type="presParOf" srcId="{6F9E0EBC-CAC9-44EA-813A-9A490F8C5DAB}" destId="{5FE086A3-222E-4D11-AF66-EDB0F1DB6B9B}" srcOrd="0" destOrd="0" presId="urn:microsoft.com/office/officeart/2005/8/layout/list1"/>
    <dgm:cxn modelId="{6231FF8C-CD6B-408F-853E-DD40EF6ECA3C}" type="presParOf" srcId="{6F9E0EBC-CAC9-44EA-813A-9A490F8C5DAB}" destId="{F3EB4FA7-A4C7-4C94-8DC2-700A8B60517C}" srcOrd="1" destOrd="0" presId="urn:microsoft.com/office/officeart/2005/8/layout/list1"/>
    <dgm:cxn modelId="{384B9CD6-F902-4880-AF68-E1EFDD7EC8F6}" type="presParOf" srcId="{1316B124-685A-484A-8F16-DB3D8931A168}" destId="{0F57AB82-300D-4134-911D-F1443F1273A1}" srcOrd="1" destOrd="0" presId="urn:microsoft.com/office/officeart/2005/8/layout/list1"/>
    <dgm:cxn modelId="{327A439B-506F-49E2-B1C5-196BC31BF5A2}" type="presParOf" srcId="{1316B124-685A-484A-8F16-DB3D8931A168}" destId="{2561F4AA-CD4B-4B84-B507-D68EDC4BADB8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3.xml><?xml version="1.0" encoding="utf-8"?>
<dgm:dataModel xmlns:dgm="http://schemas.openxmlformats.org/drawingml/2006/diagram" xmlns:a="http://schemas.openxmlformats.org/drawingml/2006/main">
  <dgm:ptLst>
    <dgm:pt modelId="{02A3A193-20C3-46FD-B559-2F91B5B90C91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1DBD155-9763-46B0-85C0-B5C383E1B51A}">
      <dgm:prSet phldrT="[Texto]" custT="1"/>
      <dgm:spPr/>
      <dgm:t>
        <a:bodyPr/>
        <a:lstStyle/>
        <a:p>
          <a:r>
            <a:rPr lang="pt-BR" sz="1600" b="1" dirty="0"/>
            <a:t>Publicidade</a:t>
          </a:r>
        </a:p>
      </dgm:t>
    </dgm:pt>
    <dgm:pt modelId="{C322741E-733C-4AE4-81FE-CA1579E76ADC}" type="parTrans" cxnId="{55DDE68E-3E48-478B-BEDA-1FABA3BB5FD7}">
      <dgm:prSet/>
      <dgm:spPr/>
      <dgm:t>
        <a:bodyPr/>
        <a:lstStyle/>
        <a:p>
          <a:endParaRPr lang="pt-BR"/>
        </a:p>
      </dgm:t>
    </dgm:pt>
    <dgm:pt modelId="{5839B530-A0CB-4054-AFAF-6CC29CEB88B1}" type="sibTrans" cxnId="{55DDE68E-3E48-478B-BEDA-1FABA3BB5FD7}">
      <dgm:prSet/>
      <dgm:spPr/>
      <dgm:t>
        <a:bodyPr/>
        <a:lstStyle/>
        <a:p>
          <a:endParaRPr lang="pt-BR"/>
        </a:p>
      </dgm:t>
    </dgm:pt>
    <dgm:pt modelId="{D9C3B6AE-73E9-4A84-AA75-1FA1B9C19990}">
      <dgm:prSet phldrT="[Texto]"/>
      <dgm:spPr/>
      <dgm:t>
        <a:bodyPr/>
        <a:lstStyle/>
        <a:p>
          <a:r>
            <a:rPr lang="pt-BR" sz="1300" b="1" dirty="0"/>
            <a:t>Regra: informações públicas</a:t>
          </a:r>
        </a:p>
      </dgm:t>
    </dgm:pt>
    <dgm:pt modelId="{1D3FDFFC-87EE-44C5-92B0-97D9C7E1E5B1}" type="parTrans" cxnId="{B6DC30FA-4416-4982-BFA6-2F1DDA3CFF13}">
      <dgm:prSet/>
      <dgm:spPr/>
      <dgm:t>
        <a:bodyPr/>
        <a:lstStyle/>
        <a:p>
          <a:endParaRPr lang="pt-BR"/>
        </a:p>
      </dgm:t>
    </dgm:pt>
    <dgm:pt modelId="{86A05EF5-FC4D-4406-9EAD-2282B0161DC4}" type="sibTrans" cxnId="{B6DC30FA-4416-4982-BFA6-2F1DDA3CFF13}">
      <dgm:prSet/>
      <dgm:spPr/>
      <dgm:t>
        <a:bodyPr/>
        <a:lstStyle/>
        <a:p>
          <a:endParaRPr lang="pt-BR"/>
        </a:p>
      </dgm:t>
    </dgm:pt>
    <dgm:pt modelId="{7AF187FE-98CF-4862-8587-CBEFFB35CA26}">
      <dgm:prSet phldrT="[Texto]"/>
      <dgm:spPr/>
      <dgm:t>
        <a:bodyPr/>
        <a:lstStyle/>
        <a:p>
          <a:r>
            <a:rPr lang="pt-BR" sz="1300" b="1" dirty="0"/>
            <a:t>Exceção: tratamento restrito</a:t>
          </a:r>
        </a:p>
      </dgm:t>
    </dgm:pt>
    <dgm:pt modelId="{BFC7AD70-48A8-404E-BE28-AD2068D47B52}" type="parTrans" cxnId="{7D22083D-1511-4A51-B817-4376EC7003CA}">
      <dgm:prSet/>
      <dgm:spPr/>
      <dgm:t>
        <a:bodyPr/>
        <a:lstStyle/>
        <a:p>
          <a:endParaRPr lang="pt-BR"/>
        </a:p>
      </dgm:t>
    </dgm:pt>
    <dgm:pt modelId="{40556E98-2E55-4863-BF77-BE4C8F2F1409}" type="sibTrans" cxnId="{7D22083D-1511-4A51-B817-4376EC7003CA}">
      <dgm:prSet/>
      <dgm:spPr/>
      <dgm:t>
        <a:bodyPr/>
        <a:lstStyle/>
        <a:p>
          <a:endParaRPr lang="pt-BR"/>
        </a:p>
      </dgm:t>
    </dgm:pt>
    <dgm:pt modelId="{5E6B4221-C89A-4176-B86A-5626EA785053}">
      <dgm:prSet phldrT="[Texto]" custT="1"/>
      <dgm:spPr/>
      <dgm:t>
        <a:bodyPr/>
        <a:lstStyle/>
        <a:p>
          <a:r>
            <a:rPr lang="pt-BR" sz="1200" dirty="0"/>
            <a:t>Solicitação motivada</a:t>
          </a:r>
        </a:p>
      </dgm:t>
    </dgm:pt>
    <dgm:pt modelId="{5F17EC65-1FE6-420F-8A23-982CA8357059}" type="parTrans" cxnId="{491F416E-A149-4484-B96D-3C9DE1F62E6B}">
      <dgm:prSet/>
      <dgm:spPr/>
      <dgm:t>
        <a:bodyPr/>
        <a:lstStyle/>
        <a:p>
          <a:endParaRPr lang="pt-BR"/>
        </a:p>
      </dgm:t>
    </dgm:pt>
    <dgm:pt modelId="{BCE4522E-797C-4D1A-8E5B-F3D97256F096}" type="sibTrans" cxnId="{491F416E-A149-4484-B96D-3C9DE1F62E6B}">
      <dgm:prSet/>
      <dgm:spPr/>
      <dgm:t>
        <a:bodyPr/>
        <a:lstStyle/>
        <a:p>
          <a:endParaRPr lang="pt-BR"/>
        </a:p>
      </dgm:t>
    </dgm:pt>
    <dgm:pt modelId="{667A026E-BBAE-4D15-AE02-41A579982127}">
      <dgm:prSet phldrT="[Texto]" custT="1"/>
      <dgm:spPr/>
      <dgm:t>
        <a:bodyPr/>
        <a:lstStyle/>
        <a:p>
          <a:r>
            <a:rPr lang="pt-BR" sz="1200" dirty="0"/>
            <a:t>Fundamento legal </a:t>
          </a:r>
        </a:p>
      </dgm:t>
    </dgm:pt>
    <dgm:pt modelId="{E02B3E39-B1AD-4B9D-8E0B-289622A9D866}" type="parTrans" cxnId="{F258C44D-1D02-477A-94ED-BB402069753E}">
      <dgm:prSet/>
      <dgm:spPr/>
      <dgm:t>
        <a:bodyPr/>
        <a:lstStyle/>
        <a:p>
          <a:endParaRPr lang="pt-BR"/>
        </a:p>
      </dgm:t>
    </dgm:pt>
    <dgm:pt modelId="{CBD64ECF-35E0-4FEC-B966-AC7D18FA819A}" type="sibTrans" cxnId="{F258C44D-1D02-477A-94ED-BB402069753E}">
      <dgm:prSet/>
      <dgm:spPr/>
      <dgm:t>
        <a:bodyPr/>
        <a:lstStyle/>
        <a:p>
          <a:endParaRPr lang="pt-BR"/>
        </a:p>
      </dgm:t>
    </dgm:pt>
    <dgm:pt modelId="{215627C0-914C-4A48-A913-6852136A7A9C}">
      <dgm:prSet phldrT="[Texto]" custT="1"/>
      <dgm:spPr/>
      <dgm:t>
        <a:bodyPr/>
        <a:lstStyle/>
        <a:p>
          <a:r>
            <a:rPr lang="pt-BR" sz="1200" dirty="0"/>
            <a:t>Versão pública</a:t>
          </a:r>
        </a:p>
      </dgm:t>
    </dgm:pt>
    <dgm:pt modelId="{37EFC0E2-DF51-45CE-9B9A-C826AB26D5E4}" type="parTrans" cxnId="{6D36C40A-6BAF-4520-81A7-46C536928B23}">
      <dgm:prSet/>
      <dgm:spPr/>
      <dgm:t>
        <a:bodyPr/>
        <a:lstStyle/>
        <a:p>
          <a:endParaRPr lang="pt-BR"/>
        </a:p>
      </dgm:t>
    </dgm:pt>
    <dgm:pt modelId="{F11AF368-2D43-447C-9897-9893028BCBDB}" type="sibTrans" cxnId="{6D36C40A-6BAF-4520-81A7-46C536928B23}">
      <dgm:prSet/>
      <dgm:spPr/>
      <dgm:t>
        <a:bodyPr/>
        <a:lstStyle/>
        <a:p>
          <a:endParaRPr lang="pt-BR"/>
        </a:p>
      </dgm:t>
    </dgm:pt>
    <dgm:pt modelId="{1316B124-685A-484A-8F16-DB3D8931A168}" type="pres">
      <dgm:prSet presAssocID="{02A3A193-20C3-46FD-B559-2F91B5B90C91}" presName="linear" presStyleCnt="0">
        <dgm:presLayoutVars>
          <dgm:dir/>
          <dgm:animLvl val="lvl"/>
          <dgm:resizeHandles val="exact"/>
        </dgm:presLayoutVars>
      </dgm:prSet>
      <dgm:spPr/>
    </dgm:pt>
    <dgm:pt modelId="{6F9E0EBC-CAC9-44EA-813A-9A490F8C5DAB}" type="pres">
      <dgm:prSet presAssocID="{41DBD155-9763-46B0-85C0-B5C383E1B51A}" presName="parentLin" presStyleCnt="0"/>
      <dgm:spPr/>
    </dgm:pt>
    <dgm:pt modelId="{5FE086A3-222E-4D11-AF66-EDB0F1DB6B9B}" type="pres">
      <dgm:prSet presAssocID="{41DBD155-9763-46B0-85C0-B5C383E1B51A}" presName="parentLeftMargin" presStyleLbl="node1" presStyleIdx="0" presStyleCnt="1"/>
      <dgm:spPr/>
    </dgm:pt>
    <dgm:pt modelId="{F3EB4FA7-A4C7-4C94-8DC2-700A8B60517C}" type="pres">
      <dgm:prSet presAssocID="{41DBD155-9763-46B0-85C0-B5C383E1B51A}" presName="parentText" presStyleLbl="node1" presStyleIdx="0" presStyleCnt="1" custLinFactNeighborY="10088">
        <dgm:presLayoutVars>
          <dgm:chMax val="0"/>
          <dgm:bulletEnabled val="1"/>
        </dgm:presLayoutVars>
      </dgm:prSet>
      <dgm:spPr/>
    </dgm:pt>
    <dgm:pt modelId="{0F57AB82-300D-4134-911D-F1443F1273A1}" type="pres">
      <dgm:prSet presAssocID="{41DBD155-9763-46B0-85C0-B5C383E1B51A}" presName="negativeSpace" presStyleCnt="0"/>
      <dgm:spPr/>
    </dgm:pt>
    <dgm:pt modelId="{2561F4AA-CD4B-4B84-B507-D68EDC4BADB8}" type="pres">
      <dgm:prSet presAssocID="{41DBD155-9763-46B0-85C0-B5C383E1B51A}" presName="childText" presStyleLbl="conFgAcc1" presStyleIdx="0" presStyleCnt="1">
        <dgm:presLayoutVars>
          <dgm:bulletEnabled val="1"/>
        </dgm:presLayoutVars>
      </dgm:prSet>
      <dgm:spPr/>
    </dgm:pt>
  </dgm:ptLst>
  <dgm:cxnLst>
    <dgm:cxn modelId="{D0A24F05-EAEF-40B1-91CC-558309ECC28F}" type="presOf" srcId="{215627C0-914C-4A48-A913-6852136A7A9C}" destId="{2561F4AA-CD4B-4B84-B507-D68EDC4BADB8}" srcOrd="0" destOrd="4" presId="urn:microsoft.com/office/officeart/2005/8/layout/list1"/>
    <dgm:cxn modelId="{6D36C40A-6BAF-4520-81A7-46C536928B23}" srcId="{7AF187FE-98CF-4862-8587-CBEFFB35CA26}" destId="{215627C0-914C-4A48-A913-6852136A7A9C}" srcOrd="2" destOrd="0" parTransId="{37EFC0E2-DF51-45CE-9B9A-C826AB26D5E4}" sibTransId="{F11AF368-2D43-447C-9897-9893028BCBDB}"/>
    <dgm:cxn modelId="{6C2D102F-EF62-4904-BCE0-B31CC8D27954}" type="presOf" srcId="{41DBD155-9763-46B0-85C0-B5C383E1B51A}" destId="{F3EB4FA7-A4C7-4C94-8DC2-700A8B60517C}" srcOrd="1" destOrd="0" presId="urn:microsoft.com/office/officeart/2005/8/layout/list1"/>
    <dgm:cxn modelId="{1F3ED031-C181-4FE3-AA94-C28DCD451F67}" type="presOf" srcId="{02A3A193-20C3-46FD-B559-2F91B5B90C91}" destId="{1316B124-685A-484A-8F16-DB3D8931A168}" srcOrd="0" destOrd="0" presId="urn:microsoft.com/office/officeart/2005/8/layout/list1"/>
    <dgm:cxn modelId="{7D22083D-1511-4A51-B817-4376EC7003CA}" srcId="{41DBD155-9763-46B0-85C0-B5C383E1B51A}" destId="{7AF187FE-98CF-4862-8587-CBEFFB35CA26}" srcOrd="1" destOrd="0" parTransId="{BFC7AD70-48A8-404E-BE28-AD2068D47B52}" sibTransId="{40556E98-2E55-4863-BF77-BE4C8F2F1409}"/>
    <dgm:cxn modelId="{F258C44D-1D02-477A-94ED-BB402069753E}" srcId="{7AF187FE-98CF-4862-8587-CBEFFB35CA26}" destId="{667A026E-BBAE-4D15-AE02-41A579982127}" srcOrd="1" destOrd="0" parTransId="{E02B3E39-B1AD-4B9D-8E0B-289622A9D866}" sibTransId="{CBD64ECF-35E0-4FEC-B966-AC7D18FA819A}"/>
    <dgm:cxn modelId="{491F416E-A149-4484-B96D-3C9DE1F62E6B}" srcId="{7AF187FE-98CF-4862-8587-CBEFFB35CA26}" destId="{5E6B4221-C89A-4176-B86A-5626EA785053}" srcOrd="0" destOrd="0" parTransId="{5F17EC65-1FE6-420F-8A23-982CA8357059}" sibTransId="{BCE4522E-797C-4D1A-8E5B-F3D97256F096}"/>
    <dgm:cxn modelId="{55DDE68E-3E48-478B-BEDA-1FABA3BB5FD7}" srcId="{02A3A193-20C3-46FD-B559-2F91B5B90C91}" destId="{41DBD155-9763-46B0-85C0-B5C383E1B51A}" srcOrd="0" destOrd="0" parTransId="{C322741E-733C-4AE4-81FE-CA1579E76ADC}" sibTransId="{5839B530-A0CB-4054-AFAF-6CC29CEB88B1}"/>
    <dgm:cxn modelId="{B9AEF190-9C5D-419A-B907-7D0C48B5C57A}" type="presOf" srcId="{D9C3B6AE-73E9-4A84-AA75-1FA1B9C19990}" destId="{2561F4AA-CD4B-4B84-B507-D68EDC4BADB8}" srcOrd="0" destOrd="0" presId="urn:microsoft.com/office/officeart/2005/8/layout/list1"/>
    <dgm:cxn modelId="{44D421A9-B082-4498-8C4A-9482056D6481}" type="presOf" srcId="{7AF187FE-98CF-4862-8587-CBEFFB35CA26}" destId="{2561F4AA-CD4B-4B84-B507-D68EDC4BADB8}" srcOrd="0" destOrd="1" presId="urn:microsoft.com/office/officeart/2005/8/layout/list1"/>
    <dgm:cxn modelId="{E179F6B4-70D0-4A01-8EA4-3CA703912B98}" type="presOf" srcId="{41DBD155-9763-46B0-85C0-B5C383E1B51A}" destId="{5FE086A3-222E-4D11-AF66-EDB0F1DB6B9B}" srcOrd="0" destOrd="0" presId="urn:microsoft.com/office/officeart/2005/8/layout/list1"/>
    <dgm:cxn modelId="{BFD7A1DA-D0C8-4FCB-AA8D-80D6B9A50AEA}" type="presOf" srcId="{667A026E-BBAE-4D15-AE02-41A579982127}" destId="{2561F4AA-CD4B-4B84-B507-D68EDC4BADB8}" srcOrd="0" destOrd="3" presId="urn:microsoft.com/office/officeart/2005/8/layout/list1"/>
    <dgm:cxn modelId="{235831E6-3349-46F8-804E-63104224078B}" type="presOf" srcId="{5E6B4221-C89A-4176-B86A-5626EA785053}" destId="{2561F4AA-CD4B-4B84-B507-D68EDC4BADB8}" srcOrd="0" destOrd="2" presId="urn:microsoft.com/office/officeart/2005/8/layout/list1"/>
    <dgm:cxn modelId="{B6DC30FA-4416-4982-BFA6-2F1DDA3CFF13}" srcId="{41DBD155-9763-46B0-85C0-B5C383E1B51A}" destId="{D9C3B6AE-73E9-4A84-AA75-1FA1B9C19990}" srcOrd="0" destOrd="0" parTransId="{1D3FDFFC-87EE-44C5-92B0-97D9C7E1E5B1}" sibTransId="{86A05EF5-FC4D-4406-9EAD-2282B0161DC4}"/>
    <dgm:cxn modelId="{FDC450AA-C5CE-4F0A-ACF3-4D8D25C2D919}" type="presParOf" srcId="{1316B124-685A-484A-8F16-DB3D8931A168}" destId="{6F9E0EBC-CAC9-44EA-813A-9A490F8C5DAB}" srcOrd="0" destOrd="0" presId="urn:microsoft.com/office/officeart/2005/8/layout/list1"/>
    <dgm:cxn modelId="{B4381988-7193-40DB-A433-16EA81001C2D}" type="presParOf" srcId="{6F9E0EBC-CAC9-44EA-813A-9A490F8C5DAB}" destId="{5FE086A3-222E-4D11-AF66-EDB0F1DB6B9B}" srcOrd="0" destOrd="0" presId="urn:microsoft.com/office/officeart/2005/8/layout/list1"/>
    <dgm:cxn modelId="{6231FF8C-CD6B-408F-853E-DD40EF6ECA3C}" type="presParOf" srcId="{6F9E0EBC-CAC9-44EA-813A-9A490F8C5DAB}" destId="{F3EB4FA7-A4C7-4C94-8DC2-700A8B60517C}" srcOrd="1" destOrd="0" presId="urn:microsoft.com/office/officeart/2005/8/layout/list1"/>
    <dgm:cxn modelId="{384B9CD6-F902-4880-AF68-E1EFDD7EC8F6}" type="presParOf" srcId="{1316B124-685A-484A-8F16-DB3D8931A168}" destId="{0F57AB82-300D-4134-911D-F1443F1273A1}" srcOrd="1" destOrd="0" presId="urn:microsoft.com/office/officeart/2005/8/layout/list1"/>
    <dgm:cxn modelId="{327A439B-506F-49E2-B1C5-196BC31BF5A2}" type="presParOf" srcId="{1316B124-685A-484A-8F16-DB3D8931A168}" destId="{2561F4AA-CD4B-4B84-B507-D68EDC4BADB8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4.xml><?xml version="1.0" encoding="utf-8"?>
<dgm:dataModel xmlns:dgm="http://schemas.openxmlformats.org/drawingml/2006/diagram" xmlns:a="http://schemas.openxmlformats.org/drawingml/2006/main">
  <dgm:ptLst>
    <dgm:pt modelId="{78E24417-5166-417F-88CA-E1EAA1C08EDF}" type="doc">
      <dgm:prSet loTypeId="urn:microsoft.com/office/officeart/2005/8/layout/vList5" loCatId="list" qsTypeId="urn:microsoft.com/office/officeart/2005/8/quickstyle/simple2" qsCatId="simple" csTypeId="urn:microsoft.com/office/officeart/2005/8/colors/accent1_3" csCatId="accent1" phldr="1"/>
      <dgm:spPr/>
      <dgm:t>
        <a:bodyPr/>
        <a:lstStyle/>
        <a:p>
          <a:endParaRPr lang="pt-BR"/>
        </a:p>
      </dgm:t>
    </dgm:pt>
    <dgm:pt modelId="{B51211AD-4E37-4698-B5BE-CDDA3F060FAC}">
      <dgm:prSet phldrT="[Texto]" custT="1"/>
      <dgm:spPr/>
      <dgm:t>
        <a:bodyPr/>
        <a:lstStyle/>
        <a:p>
          <a:pPr marL="0" indent="0" algn="just">
            <a:spcAft>
              <a:spcPts val="1200"/>
            </a:spcAft>
            <a:buNone/>
          </a:pPr>
          <a:r>
            <a:rPr lang="pt-BR" altLang="pt-BR" sz="1500" dirty="0">
              <a:solidFill>
                <a:schemeClr val="tx1"/>
              </a:solidFill>
              <a:latin typeface="+mn-lt"/>
            </a:rPr>
            <a:t>Art. 7º. O pedido de Revisão Extraordinária formulado pela Concessionária deverá ser instruído com:</a:t>
          </a:r>
          <a:endParaRPr lang="pt-BR" sz="1500" b="0" i="1" dirty="0">
            <a:solidFill>
              <a:schemeClr val="tx1">
                <a:lumMod val="50000"/>
                <a:lumOff val="50000"/>
              </a:schemeClr>
            </a:solidFill>
            <a:latin typeface="+mn-lt"/>
          </a:endParaRPr>
        </a:p>
      </dgm:t>
    </dgm:pt>
    <dgm:pt modelId="{BBA57CAF-1BF1-44FC-B50F-C9213B693484}" type="parTrans" cxnId="{B7294B36-69F4-4A11-8CC0-E17042871689}">
      <dgm:prSet/>
      <dgm:spPr/>
      <dgm:t>
        <a:bodyPr/>
        <a:lstStyle/>
        <a:p>
          <a:endParaRPr lang="pt-BR"/>
        </a:p>
      </dgm:t>
    </dgm:pt>
    <dgm:pt modelId="{5F9E3690-2B35-4722-9B8E-7EE9468AA6A5}" type="sibTrans" cxnId="{B7294B36-69F4-4A11-8CC0-E17042871689}">
      <dgm:prSet/>
      <dgm:spPr/>
      <dgm:t>
        <a:bodyPr/>
        <a:lstStyle/>
        <a:p>
          <a:endParaRPr lang="pt-BR"/>
        </a:p>
      </dgm:t>
    </dgm:pt>
    <dgm:pt modelId="{AFA14602-C2C3-4993-B464-C0439617D1CE}">
      <dgm:prSet phldrT="[Texto]" custT="1"/>
      <dgm:spPr/>
      <dgm:t>
        <a:bodyPr/>
        <a:lstStyle/>
        <a:p>
          <a:r>
            <a:rPr lang="pt-BR" sz="1800" b="1" dirty="0">
              <a:latin typeface="+mn-lt"/>
            </a:rPr>
            <a:t>Proposta de redação</a:t>
          </a:r>
        </a:p>
      </dgm:t>
    </dgm:pt>
    <dgm:pt modelId="{42A43094-7D35-47B1-984C-BE7DEA83E87A}" type="sibTrans" cxnId="{1F297C19-993D-4A4E-BF0E-7C030993873D}">
      <dgm:prSet/>
      <dgm:spPr/>
      <dgm:t>
        <a:bodyPr/>
        <a:lstStyle/>
        <a:p>
          <a:endParaRPr lang="pt-BR"/>
        </a:p>
      </dgm:t>
    </dgm:pt>
    <dgm:pt modelId="{4F81E50F-F92B-4D22-A8DE-920261E3C033}" type="parTrans" cxnId="{1F297C19-993D-4A4E-BF0E-7C030993873D}">
      <dgm:prSet/>
      <dgm:spPr/>
      <dgm:t>
        <a:bodyPr/>
        <a:lstStyle/>
        <a:p>
          <a:endParaRPr lang="pt-BR"/>
        </a:p>
      </dgm:t>
    </dgm:pt>
    <dgm:pt modelId="{8D4C94FF-EDB0-4380-84A6-3EC4A897A96A}">
      <dgm:prSet custT="1"/>
      <dgm:spPr/>
      <dgm:t>
        <a:bodyPr/>
        <a:lstStyle/>
        <a:p>
          <a:pPr marL="114300" indent="0" algn="just">
            <a:spcAft>
              <a:spcPts val="1200"/>
            </a:spcAft>
            <a:buNone/>
          </a:pPr>
          <a:r>
            <a:rPr lang="pt-BR" altLang="pt-BR" sz="1500" dirty="0">
              <a:solidFill>
                <a:schemeClr val="tx1"/>
              </a:solidFill>
              <a:latin typeface="+mn-lt"/>
            </a:rPr>
            <a:t>§6º Na hipótese de não apresentação de itens essenciais à análise do pedido de Revisão Extraordinária, tais como a identificação do risco alocado ao Poder Concedente no Contrato de Concessão e a planilha eletrônica editável que apresente as premissas e os cálculos necessários para a replicação dos resultados apresentados, </a:t>
          </a:r>
          <a:r>
            <a:rPr lang="pt-BR" altLang="pt-BR" sz="1500" b="1" dirty="0">
              <a:solidFill>
                <a:schemeClr val="tx1"/>
              </a:solidFill>
              <a:latin typeface="+mn-lt"/>
            </a:rPr>
            <a:t>o pedido de Revisão Extraordinária não será recebido</a:t>
          </a:r>
          <a:r>
            <a:rPr lang="pt-BR" altLang="pt-BR" sz="1500" dirty="0">
              <a:solidFill>
                <a:schemeClr val="tx1"/>
              </a:solidFill>
              <a:latin typeface="+mn-lt"/>
            </a:rPr>
            <a:t>, não impedindo novo pedido referente ao mesmo evento.</a:t>
          </a:r>
        </a:p>
      </dgm:t>
    </dgm:pt>
    <dgm:pt modelId="{79263AA8-63FC-4C37-AA83-77B8693F460E}" type="parTrans" cxnId="{47C4D5D2-26C2-4661-921B-2559C63102A8}">
      <dgm:prSet/>
      <dgm:spPr/>
      <dgm:t>
        <a:bodyPr/>
        <a:lstStyle/>
        <a:p>
          <a:endParaRPr lang="pt-BR"/>
        </a:p>
      </dgm:t>
    </dgm:pt>
    <dgm:pt modelId="{7094E544-6C01-4C2B-8E70-C55CF4676BFD}" type="sibTrans" cxnId="{47C4D5D2-26C2-4661-921B-2559C63102A8}">
      <dgm:prSet/>
      <dgm:spPr/>
      <dgm:t>
        <a:bodyPr/>
        <a:lstStyle/>
        <a:p>
          <a:endParaRPr lang="pt-BR"/>
        </a:p>
      </dgm:t>
    </dgm:pt>
    <dgm:pt modelId="{19C11C8D-EA59-4502-882D-173744889FDB}">
      <dgm:prSet custT="1"/>
      <dgm:spPr/>
      <dgm:t>
        <a:bodyPr/>
        <a:lstStyle/>
        <a:p>
          <a:pPr marL="114300" indent="0" algn="just">
            <a:spcAft>
              <a:spcPts val="1200"/>
            </a:spcAft>
            <a:buNone/>
          </a:pPr>
          <a:r>
            <a:rPr lang="pt-BR" altLang="pt-BR" sz="1500" dirty="0">
              <a:solidFill>
                <a:schemeClr val="tx1"/>
              </a:solidFill>
              <a:latin typeface="+mn-lt"/>
            </a:rPr>
            <a:t>§7º Os pedidos de Revisão Extraordinária, em especial no que se refere à descrição dos eventos pleiteados e respectivos valores, </a:t>
          </a:r>
          <a:r>
            <a:rPr lang="pt-BR" altLang="pt-BR" sz="1500" b="1" dirty="0">
              <a:solidFill>
                <a:schemeClr val="tx1"/>
              </a:solidFill>
              <a:latin typeface="+mn-lt"/>
            </a:rPr>
            <a:t>serão tratados sempre como informações públicas</a:t>
          </a:r>
          <a:r>
            <a:rPr lang="pt-BR" altLang="pt-BR" sz="1500" dirty="0">
              <a:solidFill>
                <a:schemeClr val="tx1"/>
              </a:solidFill>
              <a:latin typeface="+mn-lt"/>
            </a:rPr>
            <a:t>, sendo reservada a possibilidade de tratamento restrito em relação a informações específicas, desde que a solicitação seja adequadamente motivada, indique o devido embasamento legal e venha acompanhada de versão pública, enviada preferencialmente em formato digital, de todos os documentos que integrem o pedido.</a:t>
          </a:r>
          <a:r>
            <a:rPr lang="pt-BR" altLang="pt-BR" sz="1500" dirty="0">
              <a:solidFill>
                <a:schemeClr val="tx1"/>
              </a:solidFill>
              <a:latin typeface="Times New Roman" panose="02020603050405020304" pitchFamily="18" charset="0"/>
            </a:rPr>
            <a:t> </a:t>
          </a:r>
          <a:endParaRPr lang="pt-BR" altLang="pt-BR" sz="1500" dirty="0">
            <a:solidFill>
              <a:schemeClr val="tx1"/>
            </a:solidFill>
            <a:latin typeface="+mn-lt"/>
          </a:endParaRPr>
        </a:p>
      </dgm:t>
    </dgm:pt>
    <dgm:pt modelId="{60CFF09E-293F-4732-8D48-8C479FE4E642}" type="parTrans" cxnId="{91B86680-31E5-4CB9-88AD-F989C4055BBC}">
      <dgm:prSet/>
      <dgm:spPr/>
      <dgm:t>
        <a:bodyPr/>
        <a:lstStyle/>
        <a:p>
          <a:endParaRPr lang="pt-BR"/>
        </a:p>
      </dgm:t>
    </dgm:pt>
    <dgm:pt modelId="{0B649F47-CBB3-40B7-9BD2-FC88D675B257}" type="sibTrans" cxnId="{91B86680-31E5-4CB9-88AD-F989C4055BBC}">
      <dgm:prSet/>
      <dgm:spPr/>
      <dgm:t>
        <a:bodyPr/>
        <a:lstStyle/>
        <a:p>
          <a:endParaRPr lang="pt-BR"/>
        </a:p>
      </dgm:t>
    </dgm:pt>
    <dgm:pt modelId="{2AEF5431-DA26-4449-BE5E-58391598683E}" type="pres">
      <dgm:prSet presAssocID="{78E24417-5166-417F-88CA-E1EAA1C08EDF}" presName="Name0" presStyleCnt="0">
        <dgm:presLayoutVars>
          <dgm:dir/>
          <dgm:animLvl val="lvl"/>
          <dgm:resizeHandles val="exact"/>
        </dgm:presLayoutVars>
      </dgm:prSet>
      <dgm:spPr/>
    </dgm:pt>
    <dgm:pt modelId="{E43D12A8-9220-4F93-BBBD-757BF2B670A9}" type="pres">
      <dgm:prSet presAssocID="{AFA14602-C2C3-4993-B464-C0439617D1CE}" presName="linNode" presStyleCnt="0"/>
      <dgm:spPr/>
    </dgm:pt>
    <dgm:pt modelId="{1C479F0B-C610-4C88-A4DB-38C5FDE7CD99}" type="pres">
      <dgm:prSet presAssocID="{AFA14602-C2C3-4993-B464-C0439617D1CE}" presName="parentText" presStyleLbl="node1" presStyleIdx="0" presStyleCnt="1" custScaleX="54905">
        <dgm:presLayoutVars>
          <dgm:chMax val="1"/>
          <dgm:bulletEnabled val="1"/>
        </dgm:presLayoutVars>
      </dgm:prSet>
      <dgm:spPr/>
    </dgm:pt>
    <dgm:pt modelId="{9B5FC0C6-3F7C-4FEA-88D9-1EFDA05882FF}" type="pres">
      <dgm:prSet presAssocID="{AFA14602-C2C3-4993-B464-C0439617D1CE}" presName="descendantText" presStyleLbl="alignAccFollowNode1" presStyleIdx="0" presStyleCnt="1" custScaleX="123575" custScaleY="125122" custLinFactNeighborY="3573">
        <dgm:presLayoutVars>
          <dgm:bulletEnabled val="1"/>
        </dgm:presLayoutVars>
      </dgm:prSet>
      <dgm:spPr/>
    </dgm:pt>
  </dgm:ptLst>
  <dgm:cxnLst>
    <dgm:cxn modelId="{1F297C19-993D-4A4E-BF0E-7C030993873D}" srcId="{78E24417-5166-417F-88CA-E1EAA1C08EDF}" destId="{AFA14602-C2C3-4993-B464-C0439617D1CE}" srcOrd="0" destOrd="0" parTransId="{4F81E50F-F92B-4D22-A8DE-920261E3C033}" sibTransId="{42A43094-7D35-47B1-984C-BE7DEA83E87A}"/>
    <dgm:cxn modelId="{A7C7CA22-1A20-40BE-A25A-71EBC5C78ACB}" type="presOf" srcId="{78E24417-5166-417F-88CA-E1EAA1C08EDF}" destId="{2AEF5431-DA26-4449-BE5E-58391598683E}" srcOrd="0" destOrd="0" presId="urn:microsoft.com/office/officeart/2005/8/layout/vList5"/>
    <dgm:cxn modelId="{B7294B36-69F4-4A11-8CC0-E17042871689}" srcId="{AFA14602-C2C3-4993-B464-C0439617D1CE}" destId="{B51211AD-4E37-4698-B5BE-CDDA3F060FAC}" srcOrd="0" destOrd="0" parTransId="{BBA57CAF-1BF1-44FC-B50F-C9213B693484}" sibTransId="{5F9E3690-2B35-4722-9B8E-7EE9468AA6A5}"/>
    <dgm:cxn modelId="{041E664D-7D8B-4AD0-B91C-15123F3C292B}" type="presOf" srcId="{19C11C8D-EA59-4502-882D-173744889FDB}" destId="{9B5FC0C6-3F7C-4FEA-88D9-1EFDA05882FF}" srcOrd="0" destOrd="2" presId="urn:microsoft.com/office/officeart/2005/8/layout/vList5"/>
    <dgm:cxn modelId="{91B86680-31E5-4CB9-88AD-F989C4055BBC}" srcId="{AFA14602-C2C3-4993-B464-C0439617D1CE}" destId="{19C11C8D-EA59-4502-882D-173744889FDB}" srcOrd="2" destOrd="0" parTransId="{60CFF09E-293F-4732-8D48-8C479FE4E642}" sibTransId="{0B649F47-CBB3-40B7-9BD2-FC88D675B257}"/>
    <dgm:cxn modelId="{BC85F883-9CD7-4554-B01E-105ECB7D44F8}" type="presOf" srcId="{B51211AD-4E37-4698-B5BE-CDDA3F060FAC}" destId="{9B5FC0C6-3F7C-4FEA-88D9-1EFDA05882FF}" srcOrd="0" destOrd="0" presId="urn:microsoft.com/office/officeart/2005/8/layout/vList5"/>
    <dgm:cxn modelId="{5B80FDB0-8F0F-48C5-B227-E795372EF834}" type="presOf" srcId="{AFA14602-C2C3-4993-B464-C0439617D1CE}" destId="{1C479F0B-C610-4C88-A4DB-38C5FDE7CD99}" srcOrd="0" destOrd="0" presId="urn:microsoft.com/office/officeart/2005/8/layout/vList5"/>
    <dgm:cxn modelId="{19D35EC8-7D29-46EE-B8D2-3D3B80A74C50}" type="presOf" srcId="{8D4C94FF-EDB0-4380-84A6-3EC4A897A96A}" destId="{9B5FC0C6-3F7C-4FEA-88D9-1EFDA05882FF}" srcOrd="0" destOrd="1" presId="urn:microsoft.com/office/officeart/2005/8/layout/vList5"/>
    <dgm:cxn modelId="{47C4D5D2-26C2-4661-921B-2559C63102A8}" srcId="{AFA14602-C2C3-4993-B464-C0439617D1CE}" destId="{8D4C94FF-EDB0-4380-84A6-3EC4A897A96A}" srcOrd="1" destOrd="0" parTransId="{79263AA8-63FC-4C37-AA83-77B8693F460E}" sibTransId="{7094E544-6C01-4C2B-8E70-C55CF4676BFD}"/>
    <dgm:cxn modelId="{942E4A1A-B859-41E1-A65A-072FE93162EF}" type="presParOf" srcId="{2AEF5431-DA26-4449-BE5E-58391598683E}" destId="{E43D12A8-9220-4F93-BBBD-757BF2B670A9}" srcOrd="0" destOrd="0" presId="urn:microsoft.com/office/officeart/2005/8/layout/vList5"/>
    <dgm:cxn modelId="{AB1B9A7E-38F5-443F-9AE8-6AF6F0D39C56}" type="presParOf" srcId="{E43D12A8-9220-4F93-BBBD-757BF2B670A9}" destId="{1C479F0B-C610-4C88-A4DB-38C5FDE7CD99}" srcOrd="0" destOrd="0" presId="urn:microsoft.com/office/officeart/2005/8/layout/vList5"/>
    <dgm:cxn modelId="{6F0714FC-2D44-4EC0-AA32-329B27DE146A}" type="presParOf" srcId="{E43D12A8-9220-4F93-BBBD-757BF2B670A9}" destId="{9B5FC0C6-3F7C-4FEA-88D9-1EFDA05882FF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5.xml><?xml version="1.0" encoding="utf-8"?>
<dgm:dataModel xmlns:dgm="http://schemas.openxmlformats.org/drawingml/2006/diagram" xmlns:a="http://schemas.openxmlformats.org/drawingml/2006/main">
  <dgm:ptLst>
    <dgm:pt modelId="{CD26F62B-22A9-497B-AFBA-C7EC9DBAB4F6}" type="doc">
      <dgm:prSet loTypeId="urn:microsoft.com/office/officeart/2005/8/layout/lProcess1" loCatId="process" qsTypeId="urn:microsoft.com/office/officeart/2005/8/quickstyle/simple2" qsCatId="simple" csTypeId="urn:microsoft.com/office/officeart/2005/8/colors/accent1_4" csCatId="accent1" phldr="1"/>
      <dgm:spPr/>
      <dgm:t>
        <a:bodyPr/>
        <a:lstStyle/>
        <a:p>
          <a:endParaRPr lang="pt-BR"/>
        </a:p>
      </dgm:t>
    </dgm:pt>
    <dgm:pt modelId="{A3BBE326-1ACD-45FC-B2B6-96F8507E3681}">
      <dgm:prSet phldrT="[Texto]" custT="1"/>
      <dgm:spPr>
        <a:solidFill>
          <a:schemeClr val="accent3">
            <a:lumMod val="75000"/>
          </a:schemeClr>
        </a:solidFill>
      </dgm:spPr>
      <dgm:t>
        <a:bodyPr/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pt-BR" sz="2000" b="1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Deferimento pela área técnica</a:t>
          </a:r>
        </a:p>
        <a:p>
          <a:pPr marL="0"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b="0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(manifestação sobre mérito e valor)</a:t>
          </a:r>
        </a:p>
      </dgm:t>
    </dgm:pt>
    <dgm:pt modelId="{38B734E4-7942-48C5-9E85-16001B0E2C71}" type="sibTrans" cxnId="{A706D507-B7A6-4C4A-9331-126227F6C043}">
      <dgm:prSet/>
      <dgm:spPr/>
      <dgm:t>
        <a:bodyPr/>
        <a:lstStyle/>
        <a:p>
          <a:endParaRPr lang="pt-BR"/>
        </a:p>
      </dgm:t>
    </dgm:pt>
    <dgm:pt modelId="{D039B0C1-A461-47DA-BA15-10C8A5F1EC58}" type="parTrans" cxnId="{A706D507-B7A6-4C4A-9331-126227F6C043}">
      <dgm:prSet/>
      <dgm:spPr/>
      <dgm:t>
        <a:bodyPr/>
        <a:lstStyle/>
        <a:p>
          <a:endParaRPr lang="pt-BR"/>
        </a:p>
      </dgm:t>
    </dgm:pt>
    <dgm:pt modelId="{39B78235-6B49-481E-8A69-A43D605BE618}" type="pres">
      <dgm:prSet presAssocID="{CD26F62B-22A9-497B-AFBA-C7EC9DBAB4F6}" presName="Name0" presStyleCnt="0">
        <dgm:presLayoutVars>
          <dgm:dir/>
          <dgm:animLvl val="lvl"/>
          <dgm:resizeHandles val="exact"/>
        </dgm:presLayoutVars>
      </dgm:prSet>
      <dgm:spPr/>
    </dgm:pt>
    <dgm:pt modelId="{BFB50B95-6C9B-4A8A-BCB8-A290DDEC30FF}" type="pres">
      <dgm:prSet presAssocID="{A3BBE326-1ACD-45FC-B2B6-96F8507E3681}" presName="vertFlow" presStyleCnt="0"/>
      <dgm:spPr/>
    </dgm:pt>
    <dgm:pt modelId="{73025F19-DEDA-41B3-B79C-D4BF8DC81D3C}" type="pres">
      <dgm:prSet presAssocID="{A3BBE326-1ACD-45FC-B2B6-96F8507E3681}" presName="header" presStyleLbl="node1" presStyleIdx="0" presStyleCnt="1" custAng="10800000" custFlipVert="1" custScaleX="121084" custScaleY="79999" custLinFactNeighborX="-5488" custLinFactNeighborY="-10001"/>
      <dgm:spPr/>
    </dgm:pt>
  </dgm:ptLst>
  <dgm:cxnLst>
    <dgm:cxn modelId="{A706D507-B7A6-4C4A-9331-126227F6C043}" srcId="{CD26F62B-22A9-497B-AFBA-C7EC9DBAB4F6}" destId="{A3BBE326-1ACD-45FC-B2B6-96F8507E3681}" srcOrd="0" destOrd="0" parTransId="{D039B0C1-A461-47DA-BA15-10C8A5F1EC58}" sibTransId="{38B734E4-7942-48C5-9E85-16001B0E2C71}"/>
    <dgm:cxn modelId="{42927A6F-E278-4BB4-8A80-A11435A51BF1}" type="presOf" srcId="{A3BBE326-1ACD-45FC-B2B6-96F8507E3681}" destId="{73025F19-DEDA-41B3-B79C-D4BF8DC81D3C}" srcOrd="0" destOrd="0" presId="urn:microsoft.com/office/officeart/2005/8/layout/lProcess1"/>
    <dgm:cxn modelId="{44668E80-43FA-4034-B1D0-C4F2C2687711}" type="presOf" srcId="{CD26F62B-22A9-497B-AFBA-C7EC9DBAB4F6}" destId="{39B78235-6B49-481E-8A69-A43D605BE618}" srcOrd="0" destOrd="0" presId="urn:microsoft.com/office/officeart/2005/8/layout/lProcess1"/>
    <dgm:cxn modelId="{41F6FE91-EF8C-4C7C-BDE3-4B92C0D01CDF}" type="presParOf" srcId="{39B78235-6B49-481E-8A69-A43D605BE618}" destId="{BFB50B95-6C9B-4A8A-BCB8-A290DDEC30FF}" srcOrd="0" destOrd="0" presId="urn:microsoft.com/office/officeart/2005/8/layout/lProcess1"/>
    <dgm:cxn modelId="{23E91C97-90AA-4776-88AF-B15EBA17BB6A}" type="presParOf" srcId="{BFB50B95-6C9B-4A8A-BCB8-A290DDEC30FF}" destId="{73025F19-DEDA-41B3-B79C-D4BF8DC81D3C}" srcOrd="0" destOrd="0" presId="urn:microsoft.com/office/officeart/2005/8/layout/l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6.xml><?xml version="1.0" encoding="utf-8"?>
<dgm:dataModel xmlns:dgm="http://schemas.openxmlformats.org/drawingml/2006/diagram" xmlns:a="http://schemas.openxmlformats.org/drawingml/2006/main">
  <dgm:ptLst>
    <dgm:pt modelId="{CD26F62B-22A9-497B-AFBA-C7EC9DBAB4F6}" type="doc">
      <dgm:prSet loTypeId="urn:microsoft.com/office/officeart/2005/8/layout/lProcess1" loCatId="process" qsTypeId="urn:microsoft.com/office/officeart/2005/8/quickstyle/simple2" qsCatId="simple" csTypeId="urn:microsoft.com/office/officeart/2005/8/colors/accent1_4" csCatId="accent1" phldr="1"/>
      <dgm:spPr/>
      <dgm:t>
        <a:bodyPr/>
        <a:lstStyle/>
        <a:p>
          <a:endParaRPr lang="pt-BR"/>
        </a:p>
      </dgm:t>
    </dgm:pt>
    <dgm:pt modelId="{A3BBE326-1ACD-45FC-B2B6-96F8507E3681}">
      <dgm:prSet phldrT="[Texto]" custT="1"/>
      <dgm:spPr>
        <a:solidFill>
          <a:schemeClr val="accent3">
            <a:lumMod val="75000"/>
          </a:schemeClr>
        </a:solidFill>
      </dgm:spPr>
      <dgm:t>
        <a:bodyPr/>
        <a:lstStyle/>
        <a:p>
          <a:r>
            <a:rPr lang="pt-BR" sz="2000" b="1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Manifestação da Concessionária </a:t>
          </a:r>
          <a:r>
            <a:rPr lang="pt-BR" sz="1400" b="0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(metodologia/premissas)</a:t>
          </a:r>
        </a:p>
      </dgm:t>
    </dgm:pt>
    <dgm:pt modelId="{38B734E4-7942-48C5-9E85-16001B0E2C71}" type="sibTrans" cxnId="{A706D507-B7A6-4C4A-9331-126227F6C043}">
      <dgm:prSet/>
      <dgm:spPr/>
      <dgm:t>
        <a:bodyPr/>
        <a:lstStyle/>
        <a:p>
          <a:endParaRPr lang="pt-BR"/>
        </a:p>
      </dgm:t>
    </dgm:pt>
    <dgm:pt modelId="{D039B0C1-A461-47DA-BA15-10C8A5F1EC58}" type="parTrans" cxnId="{A706D507-B7A6-4C4A-9331-126227F6C043}">
      <dgm:prSet/>
      <dgm:spPr/>
      <dgm:t>
        <a:bodyPr/>
        <a:lstStyle/>
        <a:p>
          <a:endParaRPr lang="pt-BR"/>
        </a:p>
      </dgm:t>
    </dgm:pt>
    <dgm:pt modelId="{39B78235-6B49-481E-8A69-A43D605BE618}" type="pres">
      <dgm:prSet presAssocID="{CD26F62B-22A9-497B-AFBA-C7EC9DBAB4F6}" presName="Name0" presStyleCnt="0">
        <dgm:presLayoutVars>
          <dgm:dir/>
          <dgm:animLvl val="lvl"/>
          <dgm:resizeHandles val="exact"/>
        </dgm:presLayoutVars>
      </dgm:prSet>
      <dgm:spPr/>
    </dgm:pt>
    <dgm:pt modelId="{BFB50B95-6C9B-4A8A-BCB8-A290DDEC30FF}" type="pres">
      <dgm:prSet presAssocID="{A3BBE326-1ACD-45FC-B2B6-96F8507E3681}" presName="vertFlow" presStyleCnt="0"/>
      <dgm:spPr/>
    </dgm:pt>
    <dgm:pt modelId="{73025F19-DEDA-41B3-B79C-D4BF8DC81D3C}" type="pres">
      <dgm:prSet presAssocID="{A3BBE326-1ACD-45FC-B2B6-96F8507E3681}" presName="header" presStyleLbl="node1" presStyleIdx="0" presStyleCnt="1" custAng="10800000" custFlipVert="1" custScaleX="130665" custScaleY="96060" custLinFactY="8617" custLinFactNeighborX="-73737" custLinFactNeighborY="100000"/>
      <dgm:spPr/>
    </dgm:pt>
  </dgm:ptLst>
  <dgm:cxnLst>
    <dgm:cxn modelId="{A706D507-B7A6-4C4A-9331-126227F6C043}" srcId="{CD26F62B-22A9-497B-AFBA-C7EC9DBAB4F6}" destId="{A3BBE326-1ACD-45FC-B2B6-96F8507E3681}" srcOrd="0" destOrd="0" parTransId="{D039B0C1-A461-47DA-BA15-10C8A5F1EC58}" sibTransId="{38B734E4-7942-48C5-9E85-16001B0E2C71}"/>
    <dgm:cxn modelId="{42927A6F-E278-4BB4-8A80-A11435A51BF1}" type="presOf" srcId="{A3BBE326-1ACD-45FC-B2B6-96F8507E3681}" destId="{73025F19-DEDA-41B3-B79C-D4BF8DC81D3C}" srcOrd="0" destOrd="0" presId="urn:microsoft.com/office/officeart/2005/8/layout/lProcess1"/>
    <dgm:cxn modelId="{44668E80-43FA-4034-B1D0-C4F2C2687711}" type="presOf" srcId="{CD26F62B-22A9-497B-AFBA-C7EC9DBAB4F6}" destId="{39B78235-6B49-481E-8A69-A43D605BE618}" srcOrd="0" destOrd="0" presId="urn:microsoft.com/office/officeart/2005/8/layout/lProcess1"/>
    <dgm:cxn modelId="{41F6FE91-EF8C-4C7C-BDE3-4B92C0D01CDF}" type="presParOf" srcId="{39B78235-6B49-481E-8A69-A43D605BE618}" destId="{BFB50B95-6C9B-4A8A-BCB8-A290DDEC30FF}" srcOrd="0" destOrd="0" presId="urn:microsoft.com/office/officeart/2005/8/layout/lProcess1"/>
    <dgm:cxn modelId="{23E91C97-90AA-4776-88AF-B15EBA17BB6A}" type="presParOf" srcId="{BFB50B95-6C9B-4A8A-BCB8-A290DDEC30FF}" destId="{73025F19-DEDA-41B3-B79C-D4BF8DC81D3C}" srcOrd="0" destOrd="0" presId="urn:microsoft.com/office/officeart/2005/8/layout/lProcess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7.xml><?xml version="1.0" encoding="utf-8"?>
<dgm:dataModel xmlns:dgm="http://schemas.openxmlformats.org/drawingml/2006/diagram" xmlns:a="http://schemas.openxmlformats.org/drawingml/2006/main">
  <dgm:ptLst>
    <dgm:pt modelId="{CD26F62B-22A9-497B-AFBA-C7EC9DBAB4F6}" type="doc">
      <dgm:prSet loTypeId="urn:microsoft.com/office/officeart/2005/8/layout/lProcess1" loCatId="process" qsTypeId="urn:microsoft.com/office/officeart/2005/8/quickstyle/simple2" qsCatId="simple" csTypeId="urn:microsoft.com/office/officeart/2005/8/colors/accent1_4" csCatId="accent1" phldr="1"/>
      <dgm:spPr/>
      <dgm:t>
        <a:bodyPr/>
        <a:lstStyle/>
        <a:p>
          <a:endParaRPr lang="pt-BR"/>
        </a:p>
      </dgm:t>
    </dgm:pt>
    <dgm:pt modelId="{39B78235-6B49-481E-8A69-A43D605BE618}" type="pres">
      <dgm:prSet presAssocID="{CD26F62B-22A9-497B-AFBA-C7EC9DBAB4F6}" presName="Name0" presStyleCnt="0">
        <dgm:presLayoutVars>
          <dgm:dir/>
          <dgm:animLvl val="lvl"/>
          <dgm:resizeHandles val="exact"/>
        </dgm:presLayoutVars>
      </dgm:prSet>
      <dgm:spPr/>
    </dgm:pt>
  </dgm:ptLst>
  <dgm:cxnLst>
    <dgm:cxn modelId="{44668E80-43FA-4034-B1D0-C4F2C2687711}" type="presOf" srcId="{CD26F62B-22A9-497B-AFBA-C7EC9DBAB4F6}" destId="{39B78235-6B49-481E-8A69-A43D605BE618}" srcOrd="0" destOrd="0" presId="urn:microsoft.com/office/officeart/2005/8/layout/lProcess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28.xml><?xml version="1.0" encoding="utf-8"?>
<dgm:dataModel xmlns:dgm="http://schemas.openxmlformats.org/drawingml/2006/diagram" xmlns:a="http://schemas.openxmlformats.org/drawingml/2006/main">
  <dgm:ptLst>
    <dgm:pt modelId="{CD26F62B-22A9-497B-AFBA-C7EC9DBAB4F6}" type="doc">
      <dgm:prSet loTypeId="urn:microsoft.com/office/officeart/2005/8/layout/lProcess1" loCatId="process" qsTypeId="urn:microsoft.com/office/officeart/2005/8/quickstyle/simple2" qsCatId="simple" csTypeId="urn:microsoft.com/office/officeart/2005/8/colors/accent1_4" csCatId="accent1" phldr="1"/>
      <dgm:spPr/>
      <dgm:t>
        <a:bodyPr/>
        <a:lstStyle/>
        <a:p>
          <a:endParaRPr lang="pt-BR"/>
        </a:p>
      </dgm:t>
    </dgm:pt>
    <dgm:pt modelId="{A3BBE326-1ACD-45FC-B2B6-96F8507E3681}">
      <dgm:prSet phldrT="[Texto]" custT="1"/>
      <dgm:spPr>
        <a:solidFill>
          <a:schemeClr val="accent3">
            <a:lumMod val="75000"/>
          </a:schemeClr>
        </a:solidFill>
      </dgm:spPr>
      <dgm:t>
        <a:bodyPr/>
        <a:lstStyle/>
        <a:p>
          <a:pPr algn="ctr">
            <a:spcBef>
              <a:spcPts val="0"/>
            </a:spcBef>
            <a:spcAft>
              <a:spcPts val="0"/>
            </a:spcAft>
          </a:pPr>
          <a:r>
            <a:rPr lang="pt-BR" sz="2000" b="1" dirty="0"/>
            <a:t>Decisão Diretoria ANAC</a:t>
          </a:r>
        </a:p>
        <a:p>
          <a:pPr algn="ctr">
            <a:spcBef>
              <a:spcPts val="0"/>
            </a:spcBef>
            <a:spcAft>
              <a:spcPts val="0"/>
            </a:spcAft>
          </a:pPr>
          <a:r>
            <a:rPr lang="pt-BR" sz="1400" b="0" dirty="0"/>
            <a:t>(instância recursal)</a:t>
          </a:r>
        </a:p>
        <a:p>
          <a:pPr algn="ctr">
            <a:spcBef>
              <a:spcPct val="0"/>
            </a:spcBef>
            <a:spcAft>
              <a:spcPts val="0"/>
            </a:spcAft>
          </a:pPr>
          <a:r>
            <a:rPr lang="pt-BR" sz="1400" b="0" dirty="0"/>
            <a:t>(forma do reequilíbrio - MTPA) </a:t>
          </a:r>
        </a:p>
      </dgm:t>
    </dgm:pt>
    <dgm:pt modelId="{38B734E4-7942-48C5-9E85-16001B0E2C71}" type="sibTrans" cxnId="{A706D507-B7A6-4C4A-9331-126227F6C043}">
      <dgm:prSet/>
      <dgm:spPr/>
      <dgm:t>
        <a:bodyPr/>
        <a:lstStyle/>
        <a:p>
          <a:endParaRPr lang="pt-BR"/>
        </a:p>
      </dgm:t>
    </dgm:pt>
    <dgm:pt modelId="{D039B0C1-A461-47DA-BA15-10C8A5F1EC58}" type="parTrans" cxnId="{A706D507-B7A6-4C4A-9331-126227F6C043}">
      <dgm:prSet/>
      <dgm:spPr/>
      <dgm:t>
        <a:bodyPr/>
        <a:lstStyle/>
        <a:p>
          <a:endParaRPr lang="pt-BR"/>
        </a:p>
      </dgm:t>
    </dgm:pt>
    <dgm:pt modelId="{39B78235-6B49-481E-8A69-A43D605BE618}" type="pres">
      <dgm:prSet presAssocID="{CD26F62B-22A9-497B-AFBA-C7EC9DBAB4F6}" presName="Name0" presStyleCnt="0">
        <dgm:presLayoutVars>
          <dgm:dir/>
          <dgm:animLvl val="lvl"/>
          <dgm:resizeHandles val="exact"/>
        </dgm:presLayoutVars>
      </dgm:prSet>
      <dgm:spPr/>
    </dgm:pt>
    <dgm:pt modelId="{BFB50B95-6C9B-4A8A-BCB8-A290DDEC30FF}" type="pres">
      <dgm:prSet presAssocID="{A3BBE326-1ACD-45FC-B2B6-96F8507E3681}" presName="vertFlow" presStyleCnt="0"/>
      <dgm:spPr/>
    </dgm:pt>
    <dgm:pt modelId="{73025F19-DEDA-41B3-B79C-D4BF8DC81D3C}" type="pres">
      <dgm:prSet presAssocID="{A3BBE326-1ACD-45FC-B2B6-96F8507E3681}" presName="header" presStyleLbl="node1" presStyleIdx="0" presStyleCnt="1" custAng="10800000" custFlipVert="1" custScaleX="125547" custScaleY="162433" custLinFactNeighborX="-58" custLinFactNeighborY="-9469"/>
      <dgm:spPr/>
    </dgm:pt>
  </dgm:ptLst>
  <dgm:cxnLst>
    <dgm:cxn modelId="{A706D507-B7A6-4C4A-9331-126227F6C043}" srcId="{CD26F62B-22A9-497B-AFBA-C7EC9DBAB4F6}" destId="{A3BBE326-1ACD-45FC-B2B6-96F8507E3681}" srcOrd="0" destOrd="0" parTransId="{D039B0C1-A461-47DA-BA15-10C8A5F1EC58}" sibTransId="{38B734E4-7942-48C5-9E85-16001B0E2C71}"/>
    <dgm:cxn modelId="{42927A6F-E278-4BB4-8A80-A11435A51BF1}" type="presOf" srcId="{A3BBE326-1ACD-45FC-B2B6-96F8507E3681}" destId="{73025F19-DEDA-41B3-B79C-D4BF8DC81D3C}" srcOrd="0" destOrd="0" presId="urn:microsoft.com/office/officeart/2005/8/layout/lProcess1"/>
    <dgm:cxn modelId="{44668E80-43FA-4034-B1D0-C4F2C2687711}" type="presOf" srcId="{CD26F62B-22A9-497B-AFBA-C7EC9DBAB4F6}" destId="{39B78235-6B49-481E-8A69-A43D605BE618}" srcOrd="0" destOrd="0" presId="urn:microsoft.com/office/officeart/2005/8/layout/lProcess1"/>
    <dgm:cxn modelId="{41F6FE91-EF8C-4C7C-BDE3-4B92C0D01CDF}" type="presParOf" srcId="{39B78235-6B49-481E-8A69-A43D605BE618}" destId="{BFB50B95-6C9B-4A8A-BCB8-A290DDEC30FF}" srcOrd="0" destOrd="0" presId="urn:microsoft.com/office/officeart/2005/8/layout/lProcess1"/>
    <dgm:cxn modelId="{23E91C97-90AA-4776-88AF-B15EBA17BB6A}" type="presParOf" srcId="{BFB50B95-6C9B-4A8A-BCB8-A290DDEC30FF}" destId="{73025F19-DEDA-41B3-B79C-D4BF8DC81D3C}" srcOrd="0" destOrd="0" presId="urn:microsoft.com/office/officeart/2005/8/layout/lProcess1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29.xml><?xml version="1.0" encoding="utf-8"?>
<dgm:dataModel xmlns:dgm="http://schemas.openxmlformats.org/drawingml/2006/diagram" xmlns:a="http://schemas.openxmlformats.org/drawingml/2006/main">
  <dgm:ptLst>
    <dgm:pt modelId="{78E24417-5166-417F-88CA-E1EAA1C08EDF}" type="doc">
      <dgm:prSet loTypeId="urn:microsoft.com/office/officeart/2005/8/layout/vList5" loCatId="list" qsTypeId="urn:microsoft.com/office/officeart/2005/8/quickstyle/simple2" qsCatId="simple" csTypeId="urn:microsoft.com/office/officeart/2005/8/colors/accent1_3" csCatId="accent1" phldr="1"/>
      <dgm:spPr/>
      <dgm:t>
        <a:bodyPr/>
        <a:lstStyle/>
        <a:p>
          <a:endParaRPr lang="pt-BR"/>
        </a:p>
      </dgm:t>
    </dgm:pt>
    <dgm:pt modelId="{B51211AD-4E37-4698-B5BE-CDDA3F060FAC}">
      <dgm:prSet phldrT="[Texto]" custT="1"/>
      <dgm:spPr/>
      <dgm:t>
        <a:bodyPr/>
        <a:lstStyle/>
        <a:p>
          <a:pPr marL="0" lvl="1" indent="0" algn="just" defTabSz="533400">
            <a:lnSpc>
              <a:spcPct val="90000"/>
            </a:lnSpc>
            <a:spcBef>
              <a:spcPct val="0"/>
            </a:spcBef>
            <a:spcAft>
              <a:spcPts val="1200"/>
            </a:spcAft>
            <a:buNone/>
          </a:pPr>
          <a:endParaRPr lang="pt-BR" sz="1200" b="0" i="1" kern="1200" dirty="0">
            <a:solidFill>
              <a:schemeClr val="tx1">
                <a:lumMod val="50000"/>
                <a:lumOff val="50000"/>
              </a:schemeClr>
            </a:solidFill>
            <a:latin typeface="+mn-lt"/>
          </a:endParaRPr>
        </a:p>
      </dgm:t>
    </dgm:pt>
    <dgm:pt modelId="{BBA57CAF-1BF1-44FC-B50F-C9213B693484}" type="parTrans" cxnId="{B7294B36-69F4-4A11-8CC0-E17042871689}">
      <dgm:prSet/>
      <dgm:spPr/>
      <dgm:t>
        <a:bodyPr/>
        <a:lstStyle/>
        <a:p>
          <a:endParaRPr lang="pt-BR"/>
        </a:p>
      </dgm:t>
    </dgm:pt>
    <dgm:pt modelId="{5F9E3690-2B35-4722-9B8E-7EE9468AA6A5}" type="sibTrans" cxnId="{B7294B36-69F4-4A11-8CC0-E17042871689}">
      <dgm:prSet/>
      <dgm:spPr/>
      <dgm:t>
        <a:bodyPr/>
        <a:lstStyle/>
        <a:p>
          <a:endParaRPr lang="pt-BR"/>
        </a:p>
      </dgm:t>
    </dgm:pt>
    <dgm:pt modelId="{AFA14602-C2C3-4993-B464-C0439617D1CE}">
      <dgm:prSet phldrT="[Texto]" custT="1"/>
      <dgm:spPr/>
      <dgm:t>
        <a:bodyPr/>
        <a:lstStyle/>
        <a:p>
          <a:r>
            <a:rPr lang="pt-BR" sz="1800" b="1" dirty="0">
              <a:latin typeface="+mn-lt"/>
            </a:rPr>
            <a:t>Proposta de redação</a:t>
          </a:r>
        </a:p>
      </dgm:t>
    </dgm:pt>
    <dgm:pt modelId="{42A43094-7D35-47B1-984C-BE7DEA83E87A}" type="sibTrans" cxnId="{1F297C19-993D-4A4E-BF0E-7C030993873D}">
      <dgm:prSet/>
      <dgm:spPr/>
      <dgm:t>
        <a:bodyPr/>
        <a:lstStyle/>
        <a:p>
          <a:endParaRPr lang="pt-BR"/>
        </a:p>
      </dgm:t>
    </dgm:pt>
    <dgm:pt modelId="{4F81E50F-F92B-4D22-A8DE-920261E3C033}" type="parTrans" cxnId="{1F297C19-993D-4A4E-BF0E-7C030993873D}">
      <dgm:prSet/>
      <dgm:spPr/>
      <dgm:t>
        <a:bodyPr/>
        <a:lstStyle/>
        <a:p>
          <a:endParaRPr lang="pt-BR"/>
        </a:p>
      </dgm:t>
    </dgm:pt>
    <dgm:pt modelId="{3C55FA6B-49B2-47EA-8F28-76168ABEEDCD}">
      <dgm:prSet phldrT="[Texto]" custT="1"/>
      <dgm:spPr/>
      <dgm:t>
        <a:bodyPr/>
        <a:lstStyle/>
        <a:p>
          <a:pPr marL="0" lvl="1" indent="0" algn="just" defTabSz="533400">
            <a:lnSpc>
              <a:spcPct val="90000"/>
            </a:lnSpc>
            <a:spcBef>
              <a:spcPct val="0"/>
            </a:spcBef>
            <a:spcAft>
              <a:spcPts val="1200"/>
            </a:spcAft>
            <a:buFont typeface="+mj-lt"/>
            <a:buNone/>
          </a:pPr>
          <a:r>
            <a:rPr lang="pt-BR" sz="1600" kern="1200" dirty="0">
              <a:solidFill>
                <a:prstClr val="black"/>
              </a:solidFill>
              <a:latin typeface="Calibri"/>
              <a:ea typeface="+mn-ea"/>
              <a:cs typeface="+mn-cs"/>
            </a:rPr>
            <a:t>Art. 8º</a:t>
          </a:r>
          <a:r>
            <a:rPr lang="pt-BR" sz="1600" b="1" kern="1200" dirty="0">
              <a:solidFill>
                <a:prstClr val="black"/>
              </a:solidFill>
              <a:latin typeface="Calibri"/>
              <a:ea typeface="+mn-ea"/>
              <a:cs typeface="+mn-cs"/>
            </a:rPr>
            <a:t>. Na hipótese de deferimento </a:t>
          </a:r>
          <a:r>
            <a:rPr lang="pt-BR" sz="1600" kern="1200" dirty="0">
              <a:solidFill>
                <a:prstClr val="black"/>
              </a:solidFill>
              <a:latin typeface="Calibri"/>
              <a:ea typeface="+mn-ea"/>
              <a:cs typeface="+mn-cs"/>
            </a:rPr>
            <a:t>do pedido pela área técnica, a Concessionária será instada a manifestar-se acerca da </a:t>
          </a:r>
          <a:r>
            <a:rPr lang="pt-BR" sz="1600" b="1" kern="1200" dirty="0">
              <a:solidFill>
                <a:prstClr val="black"/>
              </a:solidFill>
              <a:latin typeface="Calibri"/>
              <a:ea typeface="+mn-ea"/>
              <a:cs typeface="+mn-cs"/>
            </a:rPr>
            <a:t>metodologia e premissas </a:t>
          </a:r>
          <a:r>
            <a:rPr lang="pt-BR" sz="1600" kern="1200" dirty="0">
              <a:solidFill>
                <a:prstClr val="black"/>
              </a:solidFill>
              <a:latin typeface="Calibri"/>
              <a:ea typeface="+mn-ea"/>
              <a:cs typeface="+mn-cs"/>
            </a:rPr>
            <a:t>utilizadas no cálculo dos valores da recomposição do equilíbrio econômico-financeiro </a:t>
          </a:r>
          <a:r>
            <a:rPr lang="pt-BR" sz="1600" b="1" kern="1200" dirty="0">
              <a:solidFill>
                <a:prstClr val="black"/>
              </a:solidFill>
              <a:latin typeface="Calibri"/>
              <a:ea typeface="+mn-ea"/>
              <a:cs typeface="+mn-cs"/>
            </a:rPr>
            <a:t>antes do encaminhamento à Diretoria para decisão.</a:t>
          </a:r>
        </a:p>
      </dgm:t>
    </dgm:pt>
    <dgm:pt modelId="{EC6B2A77-4C1E-4F6E-8302-B56AE340B98B}" type="parTrans" cxnId="{1665721C-C9E7-4789-B3F2-49D6C34FC03A}">
      <dgm:prSet/>
      <dgm:spPr/>
      <dgm:t>
        <a:bodyPr/>
        <a:lstStyle/>
        <a:p>
          <a:endParaRPr lang="pt-BR"/>
        </a:p>
      </dgm:t>
    </dgm:pt>
    <dgm:pt modelId="{9EA0AA73-AC1D-4F7F-B280-7A6214197787}" type="sibTrans" cxnId="{1665721C-C9E7-4789-B3F2-49D6C34FC03A}">
      <dgm:prSet/>
      <dgm:spPr/>
      <dgm:t>
        <a:bodyPr/>
        <a:lstStyle/>
        <a:p>
          <a:endParaRPr lang="pt-BR"/>
        </a:p>
      </dgm:t>
    </dgm:pt>
    <dgm:pt modelId="{2AEF5431-DA26-4449-BE5E-58391598683E}" type="pres">
      <dgm:prSet presAssocID="{78E24417-5166-417F-88CA-E1EAA1C08EDF}" presName="Name0" presStyleCnt="0">
        <dgm:presLayoutVars>
          <dgm:dir/>
          <dgm:animLvl val="lvl"/>
          <dgm:resizeHandles val="exact"/>
        </dgm:presLayoutVars>
      </dgm:prSet>
      <dgm:spPr/>
    </dgm:pt>
    <dgm:pt modelId="{E43D12A8-9220-4F93-BBBD-757BF2B670A9}" type="pres">
      <dgm:prSet presAssocID="{AFA14602-C2C3-4993-B464-C0439617D1CE}" presName="linNode" presStyleCnt="0"/>
      <dgm:spPr/>
    </dgm:pt>
    <dgm:pt modelId="{1C479F0B-C610-4C88-A4DB-38C5FDE7CD99}" type="pres">
      <dgm:prSet presAssocID="{AFA14602-C2C3-4993-B464-C0439617D1CE}" presName="parentText" presStyleLbl="node1" presStyleIdx="0" presStyleCnt="1" custScaleX="54905">
        <dgm:presLayoutVars>
          <dgm:chMax val="1"/>
          <dgm:bulletEnabled val="1"/>
        </dgm:presLayoutVars>
      </dgm:prSet>
      <dgm:spPr/>
    </dgm:pt>
    <dgm:pt modelId="{9B5FC0C6-3F7C-4FEA-88D9-1EFDA05882FF}" type="pres">
      <dgm:prSet presAssocID="{AFA14602-C2C3-4993-B464-C0439617D1CE}" presName="descendantText" presStyleLbl="alignAccFollowNode1" presStyleIdx="0" presStyleCnt="1" custScaleX="123575" custScaleY="125122" custLinFactNeighborY="3573">
        <dgm:presLayoutVars>
          <dgm:bulletEnabled val="1"/>
        </dgm:presLayoutVars>
      </dgm:prSet>
      <dgm:spPr/>
    </dgm:pt>
  </dgm:ptLst>
  <dgm:cxnLst>
    <dgm:cxn modelId="{1F297C19-993D-4A4E-BF0E-7C030993873D}" srcId="{78E24417-5166-417F-88CA-E1EAA1C08EDF}" destId="{AFA14602-C2C3-4993-B464-C0439617D1CE}" srcOrd="0" destOrd="0" parTransId="{4F81E50F-F92B-4D22-A8DE-920261E3C033}" sibTransId="{42A43094-7D35-47B1-984C-BE7DEA83E87A}"/>
    <dgm:cxn modelId="{1665721C-C9E7-4789-B3F2-49D6C34FC03A}" srcId="{AFA14602-C2C3-4993-B464-C0439617D1CE}" destId="{3C55FA6B-49B2-47EA-8F28-76168ABEEDCD}" srcOrd="1" destOrd="0" parTransId="{EC6B2A77-4C1E-4F6E-8302-B56AE340B98B}" sibTransId="{9EA0AA73-AC1D-4F7F-B280-7A6214197787}"/>
    <dgm:cxn modelId="{A7C7CA22-1A20-40BE-A25A-71EBC5C78ACB}" type="presOf" srcId="{78E24417-5166-417F-88CA-E1EAA1C08EDF}" destId="{2AEF5431-DA26-4449-BE5E-58391598683E}" srcOrd="0" destOrd="0" presId="urn:microsoft.com/office/officeart/2005/8/layout/vList5"/>
    <dgm:cxn modelId="{05FBEE2A-9585-404C-B7AF-5A3871C733EE}" type="presOf" srcId="{3C55FA6B-49B2-47EA-8F28-76168ABEEDCD}" destId="{9B5FC0C6-3F7C-4FEA-88D9-1EFDA05882FF}" srcOrd="0" destOrd="1" presId="urn:microsoft.com/office/officeart/2005/8/layout/vList5"/>
    <dgm:cxn modelId="{B7294B36-69F4-4A11-8CC0-E17042871689}" srcId="{AFA14602-C2C3-4993-B464-C0439617D1CE}" destId="{B51211AD-4E37-4698-B5BE-CDDA3F060FAC}" srcOrd="0" destOrd="0" parTransId="{BBA57CAF-1BF1-44FC-B50F-C9213B693484}" sibTransId="{5F9E3690-2B35-4722-9B8E-7EE9468AA6A5}"/>
    <dgm:cxn modelId="{BC85F883-9CD7-4554-B01E-105ECB7D44F8}" type="presOf" srcId="{B51211AD-4E37-4698-B5BE-CDDA3F060FAC}" destId="{9B5FC0C6-3F7C-4FEA-88D9-1EFDA05882FF}" srcOrd="0" destOrd="0" presId="urn:microsoft.com/office/officeart/2005/8/layout/vList5"/>
    <dgm:cxn modelId="{5B80FDB0-8F0F-48C5-B227-E795372EF834}" type="presOf" srcId="{AFA14602-C2C3-4993-B464-C0439617D1CE}" destId="{1C479F0B-C610-4C88-A4DB-38C5FDE7CD99}" srcOrd="0" destOrd="0" presId="urn:microsoft.com/office/officeart/2005/8/layout/vList5"/>
    <dgm:cxn modelId="{942E4A1A-B859-41E1-A65A-072FE93162EF}" type="presParOf" srcId="{2AEF5431-DA26-4449-BE5E-58391598683E}" destId="{E43D12A8-9220-4F93-BBBD-757BF2B670A9}" srcOrd="0" destOrd="0" presId="urn:microsoft.com/office/officeart/2005/8/layout/vList5"/>
    <dgm:cxn modelId="{AB1B9A7E-38F5-443F-9AE8-6AF6F0D39C56}" type="presParOf" srcId="{E43D12A8-9220-4F93-BBBD-757BF2B670A9}" destId="{1C479F0B-C610-4C88-A4DB-38C5FDE7CD99}" srcOrd="0" destOrd="0" presId="urn:microsoft.com/office/officeart/2005/8/layout/vList5"/>
    <dgm:cxn modelId="{6F0714FC-2D44-4EC0-AA32-329B27DE146A}" type="presParOf" srcId="{E43D12A8-9220-4F93-BBBD-757BF2B670A9}" destId="{9B5FC0C6-3F7C-4FEA-88D9-1EFDA05882FF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CC0A743-864C-4C4C-A6F5-353DEF64D166}" type="doc">
      <dgm:prSet loTypeId="urn:microsoft.com/office/officeart/2005/8/layout/chevron2" loCatId="list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E0B441C5-AE5B-4CF0-BAAD-8ADE7EC1F6F8}">
      <dgm:prSet phldrT="[Texto]"/>
      <dgm:spPr/>
      <dgm:t>
        <a:bodyPr/>
        <a:lstStyle/>
        <a:p>
          <a:r>
            <a:rPr lang="pt-BR" dirty="0"/>
            <a:t> </a:t>
          </a:r>
        </a:p>
      </dgm:t>
    </dgm:pt>
    <dgm:pt modelId="{3BC5C37D-0D82-41A8-BC9A-C334370D4611}" type="parTrans" cxnId="{D6D0A3F0-CCF3-439D-90E4-9FC873536086}">
      <dgm:prSet/>
      <dgm:spPr/>
      <dgm:t>
        <a:bodyPr/>
        <a:lstStyle/>
        <a:p>
          <a:endParaRPr lang="pt-BR"/>
        </a:p>
      </dgm:t>
    </dgm:pt>
    <dgm:pt modelId="{56515670-E3E2-4143-9992-0FAEFC226FF4}" type="sibTrans" cxnId="{D6D0A3F0-CCF3-439D-90E4-9FC873536086}">
      <dgm:prSet/>
      <dgm:spPr/>
      <dgm:t>
        <a:bodyPr/>
        <a:lstStyle/>
        <a:p>
          <a:endParaRPr lang="pt-BR"/>
        </a:p>
      </dgm:t>
    </dgm:pt>
    <dgm:pt modelId="{05581BE4-F654-4D16-82E8-DB5D0797DBA0}">
      <dgm:prSet phldrT="[Texto]" custT="1"/>
      <dgm:spPr/>
      <dgm:t>
        <a:bodyPr/>
        <a:lstStyle/>
        <a:p>
          <a:r>
            <a:rPr lang="pt-BR" sz="2400" dirty="0"/>
            <a:t>Maior eficiência</a:t>
          </a:r>
        </a:p>
      </dgm:t>
    </dgm:pt>
    <dgm:pt modelId="{97CEAB7B-E479-411C-B44E-FBD370C18845}" type="parTrans" cxnId="{5349712C-88E0-4FBC-8DB0-B38D25652123}">
      <dgm:prSet/>
      <dgm:spPr/>
      <dgm:t>
        <a:bodyPr/>
        <a:lstStyle/>
        <a:p>
          <a:endParaRPr lang="pt-BR"/>
        </a:p>
      </dgm:t>
    </dgm:pt>
    <dgm:pt modelId="{8C9ED9C4-EC1A-4198-A6B7-2CC7B99E9E05}" type="sibTrans" cxnId="{5349712C-88E0-4FBC-8DB0-B38D25652123}">
      <dgm:prSet/>
      <dgm:spPr/>
      <dgm:t>
        <a:bodyPr/>
        <a:lstStyle/>
        <a:p>
          <a:endParaRPr lang="pt-BR"/>
        </a:p>
      </dgm:t>
    </dgm:pt>
    <dgm:pt modelId="{FEE26A3F-E5BC-4D1A-98C7-0D1B6D6244D3}">
      <dgm:prSet phldrT="[Texto]"/>
      <dgm:spPr/>
      <dgm:t>
        <a:bodyPr/>
        <a:lstStyle/>
        <a:p>
          <a:r>
            <a:rPr lang="pt-BR" dirty="0"/>
            <a:t> </a:t>
          </a:r>
        </a:p>
      </dgm:t>
    </dgm:pt>
    <dgm:pt modelId="{4C0B5F0D-AB36-413F-9A99-02C9E440448F}" type="parTrans" cxnId="{39D1821B-47C4-4222-BF44-7D84B93784DD}">
      <dgm:prSet/>
      <dgm:spPr/>
      <dgm:t>
        <a:bodyPr/>
        <a:lstStyle/>
        <a:p>
          <a:endParaRPr lang="pt-BR"/>
        </a:p>
      </dgm:t>
    </dgm:pt>
    <dgm:pt modelId="{DDB88AC1-5374-4729-AD38-2D60E2558E42}" type="sibTrans" cxnId="{39D1821B-47C4-4222-BF44-7D84B93784DD}">
      <dgm:prSet/>
      <dgm:spPr/>
      <dgm:t>
        <a:bodyPr/>
        <a:lstStyle/>
        <a:p>
          <a:endParaRPr lang="pt-BR"/>
        </a:p>
      </dgm:t>
    </dgm:pt>
    <dgm:pt modelId="{04C1DB9A-8145-444C-8DA6-90D4FF55AF19}">
      <dgm:prSet phldrT="[Texto]"/>
      <dgm:spPr/>
      <dgm:t>
        <a:bodyPr/>
        <a:lstStyle/>
        <a:p>
          <a:r>
            <a:rPr lang="pt-BR" dirty="0"/>
            <a:t> </a:t>
          </a:r>
        </a:p>
      </dgm:t>
    </dgm:pt>
    <dgm:pt modelId="{F919A7AD-EE5B-4E87-B12D-0183F1F69612}" type="parTrans" cxnId="{225A3844-939E-4C07-B20D-9C945F4B7B85}">
      <dgm:prSet/>
      <dgm:spPr/>
      <dgm:t>
        <a:bodyPr/>
        <a:lstStyle/>
        <a:p>
          <a:endParaRPr lang="pt-BR"/>
        </a:p>
      </dgm:t>
    </dgm:pt>
    <dgm:pt modelId="{1DECB7F8-7448-4F98-BFF3-406FCE95B062}" type="sibTrans" cxnId="{225A3844-939E-4C07-B20D-9C945F4B7B85}">
      <dgm:prSet/>
      <dgm:spPr/>
      <dgm:t>
        <a:bodyPr/>
        <a:lstStyle/>
        <a:p>
          <a:endParaRPr lang="pt-BR"/>
        </a:p>
      </dgm:t>
    </dgm:pt>
    <dgm:pt modelId="{8275E00A-D766-4C9D-8EB4-8E2D8F37D577}">
      <dgm:prSet phldrT="[Texto]" custT="1"/>
      <dgm:spPr/>
      <dgm:t>
        <a:bodyPr/>
        <a:lstStyle/>
        <a:p>
          <a:r>
            <a:rPr lang="pt-BR" sz="2400" dirty="0"/>
            <a:t>Mais transparência</a:t>
          </a:r>
        </a:p>
      </dgm:t>
    </dgm:pt>
    <dgm:pt modelId="{88585D66-910B-4EC6-9235-6DDA72BCB700}" type="parTrans" cxnId="{00E5E65A-639F-4337-A82F-4CDCC38F94CF}">
      <dgm:prSet/>
      <dgm:spPr/>
      <dgm:t>
        <a:bodyPr/>
        <a:lstStyle/>
        <a:p>
          <a:endParaRPr lang="pt-BR"/>
        </a:p>
      </dgm:t>
    </dgm:pt>
    <dgm:pt modelId="{0B829839-35E8-41B0-A271-3B597D6640CA}" type="sibTrans" cxnId="{00E5E65A-639F-4337-A82F-4CDCC38F94CF}">
      <dgm:prSet/>
      <dgm:spPr/>
      <dgm:t>
        <a:bodyPr/>
        <a:lstStyle/>
        <a:p>
          <a:endParaRPr lang="pt-BR"/>
        </a:p>
      </dgm:t>
    </dgm:pt>
    <dgm:pt modelId="{34A6E52F-823A-4327-8377-DBF51BA0B3E1}">
      <dgm:prSet phldrT="[Texto]" custT="1"/>
      <dgm:spPr/>
      <dgm:t>
        <a:bodyPr/>
        <a:lstStyle/>
        <a:p>
          <a:r>
            <a:rPr lang="pt-BR" sz="2400" baseline="0" dirty="0"/>
            <a:t>Maior </a:t>
          </a:r>
          <a:r>
            <a:rPr lang="pt-BR" sz="2400" dirty="0"/>
            <a:t>segurança jurídica</a:t>
          </a:r>
        </a:p>
      </dgm:t>
    </dgm:pt>
    <dgm:pt modelId="{769255D6-6751-4776-8ED6-DA44DAD25028}" type="parTrans" cxnId="{CB2B0242-5743-4DD0-89BA-5F9451E5A9A0}">
      <dgm:prSet/>
      <dgm:spPr/>
      <dgm:t>
        <a:bodyPr/>
        <a:lstStyle/>
        <a:p>
          <a:endParaRPr lang="pt-BR"/>
        </a:p>
      </dgm:t>
    </dgm:pt>
    <dgm:pt modelId="{8A508888-D8E4-4F0F-A1C8-5B1C533CA2E1}" type="sibTrans" cxnId="{CB2B0242-5743-4DD0-89BA-5F9451E5A9A0}">
      <dgm:prSet/>
      <dgm:spPr/>
      <dgm:t>
        <a:bodyPr/>
        <a:lstStyle/>
        <a:p>
          <a:endParaRPr lang="pt-BR"/>
        </a:p>
      </dgm:t>
    </dgm:pt>
    <dgm:pt modelId="{EC5294B2-8A9E-4095-8BB0-C134E7A4D1BD}" type="pres">
      <dgm:prSet presAssocID="{9CC0A743-864C-4C4C-A6F5-353DEF64D166}" presName="linearFlow" presStyleCnt="0">
        <dgm:presLayoutVars>
          <dgm:dir/>
          <dgm:animLvl val="lvl"/>
          <dgm:resizeHandles val="exact"/>
        </dgm:presLayoutVars>
      </dgm:prSet>
      <dgm:spPr/>
    </dgm:pt>
    <dgm:pt modelId="{517913D7-6CDC-4806-BF80-1A1A6EE45152}" type="pres">
      <dgm:prSet presAssocID="{E0B441C5-AE5B-4CF0-BAAD-8ADE7EC1F6F8}" presName="composite" presStyleCnt="0"/>
      <dgm:spPr/>
    </dgm:pt>
    <dgm:pt modelId="{D884F48A-9525-4C22-8F2A-BA2C6ABD8029}" type="pres">
      <dgm:prSet presAssocID="{E0B441C5-AE5B-4CF0-BAAD-8ADE7EC1F6F8}" presName="parentText" presStyleLbl="alignNode1" presStyleIdx="0" presStyleCnt="3">
        <dgm:presLayoutVars>
          <dgm:chMax val="1"/>
          <dgm:bulletEnabled val="1"/>
        </dgm:presLayoutVars>
      </dgm:prSet>
      <dgm:spPr/>
    </dgm:pt>
    <dgm:pt modelId="{4A90C877-0315-4D5E-9F8D-85805FEDD18E}" type="pres">
      <dgm:prSet presAssocID="{E0B441C5-AE5B-4CF0-BAAD-8ADE7EC1F6F8}" presName="descendantText" presStyleLbl="alignAcc1" presStyleIdx="0" presStyleCnt="3" custLinFactNeighborY="-13451">
        <dgm:presLayoutVars>
          <dgm:bulletEnabled val="1"/>
        </dgm:presLayoutVars>
      </dgm:prSet>
      <dgm:spPr/>
    </dgm:pt>
    <dgm:pt modelId="{65FDB644-AE32-4190-9F13-7574D9F41D92}" type="pres">
      <dgm:prSet presAssocID="{56515670-E3E2-4143-9992-0FAEFC226FF4}" presName="sp" presStyleCnt="0"/>
      <dgm:spPr/>
    </dgm:pt>
    <dgm:pt modelId="{26A1B560-67A8-4EB5-96C2-93E4722ABBD1}" type="pres">
      <dgm:prSet presAssocID="{FEE26A3F-E5BC-4D1A-98C7-0D1B6D6244D3}" presName="composite" presStyleCnt="0"/>
      <dgm:spPr/>
    </dgm:pt>
    <dgm:pt modelId="{5243C3D5-1CCC-4D8C-BA97-1FC286302A90}" type="pres">
      <dgm:prSet presAssocID="{FEE26A3F-E5BC-4D1A-98C7-0D1B6D6244D3}" presName="parentText" presStyleLbl="alignNode1" presStyleIdx="1" presStyleCnt="3">
        <dgm:presLayoutVars>
          <dgm:chMax val="1"/>
          <dgm:bulletEnabled val="1"/>
        </dgm:presLayoutVars>
      </dgm:prSet>
      <dgm:spPr/>
    </dgm:pt>
    <dgm:pt modelId="{82AD9CBE-3857-4DFF-AEBC-0B64BE96D1D0}" type="pres">
      <dgm:prSet presAssocID="{FEE26A3F-E5BC-4D1A-98C7-0D1B6D6244D3}" presName="descendantText" presStyleLbl="alignAcc1" presStyleIdx="1" presStyleCnt="3">
        <dgm:presLayoutVars>
          <dgm:bulletEnabled val="1"/>
        </dgm:presLayoutVars>
      </dgm:prSet>
      <dgm:spPr/>
    </dgm:pt>
    <dgm:pt modelId="{DD5CC38B-272F-4EA9-A0B0-510178D1299C}" type="pres">
      <dgm:prSet presAssocID="{DDB88AC1-5374-4729-AD38-2D60E2558E42}" presName="sp" presStyleCnt="0"/>
      <dgm:spPr/>
    </dgm:pt>
    <dgm:pt modelId="{996A7E8E-4A82-4349-A2D3-10C4837A2464}" type="pres">
      <dgm:prSet presAssocID="{04C1DB9A-8145-444C-8DA6-90D4FF55AF19}" presName="composite" presStyleCnt="0"/>
      <dgm:spPr/>
    </dgm:pt>
    <dgm:pt modelId="{5DEB32E2-2893-493A-8C80-E6268B41D4C1}" type="pres">
      <dgm:prSet presAssocID="{04C1DB9A-8145-444C-8DA6-90D4FF55AF19}" presName="parentText" presStyleLbl="alignNode1" presStyleIdx="2" presStyleCnt="3">
        <dgm:presLayoutVars>
          <dgm:chMax val="1"/>
          <dgm:bulletEnabled val="1"/>
        </dgm:presLayoutVars>
      </dgm:prSet>
      <dgm:spPr/>
    </dgm:pt>
    <dgm:pt modelId="{25E796D9-56DB-45E8-853F-AD7F3A858318}" type="pres">
      <dgm:prSet presAssocID="{04C1DB9A-8145-444C-8DA6-90D4FF55AF19}" presName="descendantText" presStyleLbl="alignAcc1" presStyleIdx="2" presStyleCnt="3">
        <dgm:presLayoutVars>
          <dgm:bulletEnabled val="1"/>
        </dgm:presLayoutVars>
      </dgm:prSet>
      <dgm:spPr/>
    </dgm:pt>
  </dgm:ptLst>
  <dgm:cxnLst>
    <dgm:cxn modelId="{10B8FF0F-D5E2-4971-87A7-F62D3592F280}" type="presOf" srcId="{8275E00A-D766-4C9D-8EB4-8E2D8F37D577}" destId="{25E796D9-56DB-45E8-853F-AD7F3A858318}" srcOrd="0" destOrd="0" presId="urn:microsoft.com/office/officeart/2005/8/layout/chevron2"/>
    <dgm:cxn modelId="{39D1821B-47C4-4222-BF44-7D84B93784DD}" srcId="{9CC0A743-864C-4C4C-A6F5-353DEF64D166}" destId="{FEE26A3F-E5BC-4D1A-98C7-0D1B6D6244D3}" srcOrd="1" destOrd="0" parTransId="{4C0B5F0D-AB36-413F-9A99-02C9E440448F}" sibTransId="{DDB88AC1-5374-4729-AD38-2D60E2558E42}"/>
    <dgm:cxn modelId="{5349712C-88E0-4FBC-8DB0-B38D25652123}" srcId="{E0B441C5-AE5B-4CF0-BAAD-8ADE7EC1F6F8}" destId="{05581BE4-F654-4D16-82E8-DB5D0797DBA0}" srcOrd="0" destOrd="0" parTransId="{97CEAB7B-E479-411C-B44E-FBD370C18845}" sibTransId="{8C9ED9C4-EC1A-4198-A6B7-2CC7B99E9E05}"/>
    <dgm:cxn modelId="{DAA0762C-F369-482E-B98A-2E4328482BCD}" type="presOf" srcId="{E0B441C5-AE5B-4CF0-BAAD-8ADE7EC1F6F8}" destId="{D884F48A-9525-4C22-8F2A-BA2C6ABD8029}" srcOrd="0" destOrd="0" presId="urn:microsoft.com/office/officeart/2005/8/layout/chevron2"/>
    <dgm:cxn modelId="{CB2B0242-5743-4DD0-89BA-5F9451E5A9A0}" srcId="{FEE26A3F-E5BC-4D1A-98C7-0D1B6D6244D3}" destId="{34A6E52F-823A-4327-8377-DBF51BA0B3E1}" srcOrd="0" destOrd="0" parTransId="{769255D6-6751-4776-8ED6-DA44DAD25028}" sibTransId="{8A508888-D8E4-4F0F-A1C8-5B1C533CA2E1}"/>
    <dgm:cxn modelId="{225A3844-939E-4C07-B20D-9C945F4B7B85}" srcId="{9CC0A743-864C-4C4C-A6F5-353DEF64D166}" destId="{04C1DB9A-8145-444C-8DA6-90D4FF55AF19}" srcOrd="2" destOrd="0" parTransId="{F919A7AD-EE5B-4E87-B12D-0183F1F69612}" sibTransId="{1DECB7F8-7448-4F98-BFF3-406FCE95B062}"/>
    <dgm:cxn modelId="{EB4B4F5A-E645-485E-9363-2C4E8820F6B3}" type="presOf" srcId="{9CC0A743-864C-4C4C-A6F5-353DEF64D166}" destId="{EC5294B2-8A9E-4095-8BB0-C134E7A4D1BD}" srcOrd="0" destOrd="0" presId="urn:microsoft.com/office/officeart/2005/8/layout/chevron2"/>
    <dgm:cxn modelId="{00E5E65A-639F-4337-A82F-4CDCC38F94CF}" srcId="{04C1DB9A-8145-444C-8DA6-90D4FF55AF19}" destId="{8275E00A-D766-4C9D-8EB4-8E2D8F37D577}" srcOrd="0" destOrd="0" parTransId="{88585D66-910B-4EC6-9235-6DDA72BCB700}" sibTransId="{0B829839-35E8-41B0-A271-3B597D6640CA}"/>
    <dgm:cxn modelId="{168A0F7B-97A9-43D3-A831-94B0E6CF40A0}" type="presOf" srcId="{FEE26A3F-E5BC-4D1A-98C7-0D1B6D6244D3}" destId="{5243C3D5-1CCC-4D8C-BA97-1FC286302A90}" srcOrd="0" destOrd="0" presId="urn:microsoft.com/office/officeart/2005/8/layout/chevron2"/>
    <dgm:cxn modelId="{0523FC8E-66B4-4A88-B0FB-2B10A1C5F7D4}" type="presOf" srcId="{04C1DB9A-8145-444C-8DA6-90D4FF55AF19}" destId="{5DEB32E2-2893-493A-8C80-E6268B41D4C1}" srcOrd="0" destOrd="0" presId="urn:microsoft.com/office/officeart/2005/8/layout/chevron2"/>
    <dgm:cxn modelId="{117510AD-32E2-4460-BE29-4D2D2B5340A9}" type="presOf" srcId="{34A6E52F-823A-4327-8377-DBF51BA0B3E1}" destId="{82AD9CBE-3857-4DFF-AEBC-0B64BE96D1D0}" srcOrd="0" destOrd="0" presId="urn:microsoft.com/office/officeart/2005/8/layout/chevron2"/>
    <dgm:cxn modelId="{D6D0A3F0-CCF3-439D-90E4-9FC873536086}" srcId="{9CC0A743-864C-4C4C-A6F5-353DEF64D166}" destId="{E0B441C5-AE5B-4CF0-BAAD-8ADE7EC1F6F8}" srcOrd="0" destOrd="0" parTransId="{3BC5C37D-0D82-41A8-BC9A-C334370D4611}" sibTransId="{56515670-E3E2-4143-9992-0FAEFC226FF4}"/>
    <dgm:cxn modelId="{44BF79F1-CC1F-43F1-AF0C-FBBAFAF5DD82}" type="presOf" srcId="{05581BE4-F654-4D16-82E8-DB5D0797DBA0}" destId="{4A90C877-0315-4D5E-9F8D-85805FEDD18E}" srcOrd="0" destOrd="0" presId="urn:microsoft.com/office/officeart/2005/8/layout/chevron2"/>
    <dgm:cxn modelId="{8D769012-F1C6-462B-96B0-50B97B820B0A}" type="presParOf" srcId="{EC5294B2-8A9E-4095-8BB0-C134E7A4D1BD}" destId="{517913D7-6CDC-4806-BF80-1A1A6EE45152}" srcOrd="0" destOrd="0" presId="urn:microsoft.com/office/officeart/2005/8/layout/chevron2"/>
    <dgm:cxn modelId="{8C7A0CEA-8B8D-46FB-A208-4E704180B115}" type="presParOf" srcId="{517913D7-6CDC-4806-BF80-1A1A6EE45152}" destId="{D884F48A-9525-4C22-8F2A-BA2C6ABD8029}" srcOrd="0" destOrd="0" presId="urn:microsoft.com/office/officeart/2005/8/layout/chevron2"/>
    <dgm:cxn modelId="{E299A9B4-5E8A-4402-B130-8AC676531A69}" type="presParOf" srcId="{517913D7-6CDC-4806-BF80-1A1A6EE45152}" destId="{4A90C877-0315-4D5E-9F8D-85805FEDD18E}" srcOrd="1" destOrd="0" presId="urn:microsoft.com/office/officeart/2005/8/layout/chevron2"/>
    <dgm:cxn modelId="{CB2314C1-5BF5-40D8-A8DB-190B4C5E971F}" type="presParOf" srcId="{EC5294B2-8A9E-4095-8BB0-C134E7A4D1BD}" destId="{65FDB644-AE32-4190-9F13-7574D9F41D92}" srcOrd="1" destOrd="0" presId="urn:microsoft.com/office/officeart/2005/8/layout/chevron2"/>
    <dgm:cxn modelId="{1DA15729-89C6-47D4-A0AA-3824C4CF8E3A}" type="presParOf" srcId="{EC5294B2-8A9E-4095-8BB0-C134E7A4D1BD}" destId="{26A1B560-67A8-4EB5-96C2-93E4722ABBD1}" srcOrd="2" destOrd="0" presId="urn:microsoft.com/office/officeart/2005/8/layout/chevron2"/>
    <dgm:cxn modelId="{E4669FDF-43CD-4D1C-8909-BFF149B7EF7E}" type="presParOf" srcId="{26A1B560-67A8-4EB5-96C2-93E4722ABBD1}" destId="{5243C3D5-1CCC-4D8C-BA97-1FC286302A90}" srcOrd="0" destOrd="0" presId="urn:microsoft.com/office/officeart/2005/8/layout/chevron2"/>
    <dgm:cxn modelId="{56362033-1543-48C8-BF28-334080F7FC22}" type="presParOf" srcId="{26A1B560-67A8-4EB5-96C2-93E4722ABBD1}" destId="{82AD9CBE-3857-4DFF-AEBC-0B64BE96D1D0}" srcOrd="1" destOrd="0" presId="urn:microsoft.com/office/officeart/2005/8/layout/chevron2"/>
    <dgm:cxn modelId="{D616887B-0792-4C80-B9CB-5F294983847F}" type="presParOf" srcId="{EC5294B2-8A9E-4095-8BB0-C134E7A4D1BD}" destId="{DD5CC38B-272F-4EA9-A0B0-510178D1299C}" srcOrd="3" destOrd="0" presId="urn:microsoft.com/office/officeart/2005/8/layout/chevron2"/>
    <dgm:cxn modelId="{7B8AD87A-BD69-4F48-87B3-68A16C3293F7}" type="presParOf" srcId="{EC5294B2-8A9E-4095-8BB0-C134E7A4D1BD}" destId="{996A7E8E-4A82-4349-A2D3-10C4837A2464}" srcOrd="4" destOrd="0" presId="urn:microsoft.com/office/officeart/2005/8/layout/chevron2"/>
    <dgm:cxn modelId="{82E5C5E8-6B6F-4FE1-B6FA-E1346B642C2E}" type="presParOf" srcId="{996A7E8E-4A82-4349-A2D3-10C4837A2464}" destId="{5DEB32E2-2893-493A-8C80-E6268B41D4C1}" srcOrd="0" destOrd="0" presId="urn:microsoft.com/office/officeart/2005/8/layout/chevron2"/>
    <dgm:cxn modelId="{AAD569EC-5744-4980-A791-B96E4BA14092}" type="presParOf" srcId="{996A7E8E-4A82-4349-A2D3-10C4837A2464}" destId="{25E796D9-56DB-45E8-853F-AD7F3A858318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0.xml><?xml version="1.0" encoding="utf-8"?>
<dgm:dataModel xmlns:dgm="http://schemas.openxmlformats.org/drawingml/2006/diagram" xmlns:a="http://schemas.openxmlformats.org/drawingml/2006/main">
  <dgm:ptLst>
    <dgm:pt modelId="{CD26F62B-22A9-497B-AFBA-C7EC9DBAB4F6}" type="doc">
      <dgm:prSet loTypeId="urn:microsoft.com/office/officeart/2005/8/layout/lProcess1" loCatId="process" qsTypeId="urn:microsoft.com/office/officeart/2005/8/quickstyle/simple2" qsCatId="simple" csTypeId="urn:microsoft.com/office/officeart/2005/8/colors/accent1_4" csCatId="accent1" phldr="1"/>
      <dgm:spPr/>
      <dgm:t>
        <a:bodyPr/>
        <a:lstStyle/>
        <a:p>
          <a:endParaRPr lang="pt-BR"/>
        </a:p>
      </dgm:t>
    </dgm:pt>
    <dgm:pt modelId="{A3BBE326-1ACD-45FC-B2B6-96F8507E3681}">
      <dgm:prSet phldrT="[Texto]" custT="1"/>
      <dgm:spPr>
        <a:solidFill>
          <a:schemeClr val="accent3">
            <a:lumMod val="75000"/>
          </a:schemeClr>
        </a:solidFill>
      </dgm:spPr>
      <dgm:t>
        <a:bodyPr/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pt-BR" sz="2000" b="1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Indeferimento pela área técnica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pt-BR" sz="1400" b="0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(decisão de 1ª instância - delegada)</a:t>
          </a:r>
        </a:p>
      </dgm:t>
    </dgm:pt>
    <dgm:pt modelId="{38B734E4-7942-48C5-9E85-16001B0E2C71}" type="sibTrans" cxnId="{A706D507-B7A6-4C4A-9331-126227F6C043}">
      <dgm:prSet/>
      <dgm:spPr/>
      <dgm:t>
        <a:bodyPr/>
        <a:lstStyle/>
        <a:p>
          <a:endParaRPr lang="pt-BR"/>
        </a:p>
      </dgm:t>
    </dgm:pt>
    <dgm:pt modelId="{D039B0C1-A461-47DA-BA15-10C8A5F1EC58}" type="parTrans" cxnId="{A706D507-B7A6-4C4A-9331-126227F6C043}">
      <dgm:prSet/>
      <dgm:spPr/>
      <dgm:t>
        <a:bodyPr/>
        <a:lstStyle/>
        <a:p>
          <a:endParaRPr lang="pt-BR"/>
        </a:p>
      </dgm:t>
    </dgm:pt>
    <dgm:pt modelId="{39B78235-6B49-481E-8A69-A43D605BE618}" type="pres">
      <dgm:prSet presAssocID="{CD26F62B-22A9-497B-AFBA-C7EC9DBAB4F6}" presName="Name0" presStyleCnt="0">
        <dgm:presLayoutVars>
          <dgm:dir/>
          <dgm:animLvl val="lvl"/>
          <dgm:resizeHandles val="exact"/>
        </dgm:presLayoutVars>
      </dgm:prSet>
      <dgm:spPr/>
    </dgm:pt>
    <dgm:pt modelId="{BFB50B95-6C9B-4A8A-BCB8-A290DDEC30FF}" type="pres">
      <dgm:prSet presAssocID="{A3BBE326-1ACD-45FC-B2B6-96F8507E3681}" presName="vertFlow" presStyleCnt="0"/>
      <dgm:spPr/>
    </dgm:pt>
    <dgm:pt modelId="{73025F19-DEDA-41B3-B79C-D4BF8DC81D3C}" type="pres">
      <dgm:prSet presAssocID="{A3BBE326-1ACD-45FC-B2B6-96F8507E3681}" presName="header" presStyleLbl="node1" presStyleIdx="0" presStyleCnt="1" custAng="10800000" custFlipVert="1" custScaleX="147941" custScaleY="100104" custLinFactNeighborX="-67" custLinFactNeighborY="2247"/>
      <dgm:spPr/>
    </dgm:pt>
  </dgm:ptLst>
  <dgm:cxnLst>
    <dgm:cxn modelId="{A706D507-B7A6-4C4A-9331-126227F6C043}" srcId="{CD26F62B-22A9-497B-AFBA-C7EC9DBAB4F6}" destId="{A3BBE326-1ACD-45FC-B2B6-96F8507E3681}" srcOrd="0" destOrd="0" parTransId="{D039B0C1-A461-47DA-BA15-10C8A5F1EC58}" sibTransId="{38B734E4-7942-48C5-9E85-16001B0E2C71}"/>
    <dgm:cxn modelId="{42927A6F-E278-4BB4-8A80-A11435A51BF1}" type="presOf" srcId="{A3BBE326-1ACD-45FC-B2B6-96F8507E3681}" destId="{73025F19-DEDA-41B3-B79C-D4BF8DC81D3C}" srcOrd="0" destOrd="0" presId="urn:microsoft.com/office/officeart/2005/8/layout/lProcess1"/>
    <dgm:cxn modelId="{44668E80-43FA-4034-B1D0-C4F2C2687711}" type="presOf" srcId="{CD26F62B-22A9-497B-AFBA-C7EC9DBAB4F6}" destId="{39B78235-6B49-481E-8A69-A43D605BE618}" srcOrd="0" destOrd="0" presId="urn:microsoft.com/office/officeart/2005/8/layout/lProcess1"/>
    <dgm:cxn modelId="{41F6FE91-EF8C-4C7C-BDE3-4B92C0D01CDF}" type="presParOf" srcId="{39B78235-6B49-481E-8A69-A43D605BE618}" destId="{BFB50B95-6C9B-4A8A-BCB8-A290DDEC30FF}" srcOrd="0" destOrd="0" presId="urn:microsoft.com/office/officeart/2005/8/layout/lProcess1"/>
    <dgm:cxn modelId="{23E91C97-90AA-4776-88AF-B15EBA17BB6A}" type="presParOf" srcId="{BFB50B95-6C9B-4A8A-BCB8-A290DDEC30FF}" destId="{73025F19-DEDA-41B3-B79C-D4BF8DC81D3C}" srcOrd="0" destOrd="0" presId="urn:microsoft.com/office/officeart/2005/8/layout/l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1.xml><?xml version="1.0" encoding="utf-8"?>
<dgm:dataModel xmlns:dgm="http://schemas.openxmlformats.org/drawingml/2006/diagram" xmlns:a="http://schemas.openxmlformats.org/drawingml/2006/main">
  <dgm:ptLst>
    <dgm:pt modelId="{CD26F62B-22A9-497B-AFBA-C7EC9DBAB4F6}" type="doc">
      <dgm:prSet loTypeId="urn:microsoft.com/office/officeart/2005/8/layout/lProcess1" loCatId="process" qsTypeId="urn:microsoft.com/office/officeart/2005/8/quickstyle/simple2" qsCatId="simple" csTypeId="urn:microsoft.com/office/officeart/2005/8/colors/accent1_4" csCatId="accent1" phldr="1"/>
      <dgm:spPr/>
      <dgm:t>
        <a:bodyPr/>
        <a:lstStyle/>
        <a:p>
          <a:endParaRPr lang="pt-BR"/>
        </a:p>
      </dgm:t>
    </dgm:pt>
    <dgm:pt modelId="{A3BBE326-1ACD-45FC-B2B6-96F8507E3681}">
      <dgm:prSet phldrT="[Texto]" custT="1"/>
      <dgm:spPr>
        <a:solidFill>
          <a:schemeClr val="accent3">
            <a:lumMod val="75000"/>
          </a:schemeClr>
        </a:solidFill>
      </dgm:spPr>
      <dgm:t>
        <a:bodyPr/>
        <a:lstStyle/>
        <a:p>
          <a:r>
            <a:rPr lang="pt-BR" sz="2000" b="1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Recurso Concessionária </a:t>
          </a:r>
          <a:r>
            <a:rPr lang="pt-BR" sz="1400" b="0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(10 dias)</a:t>
          </a:r>
        </a:p>
      </dgm:t>
    </dgm:pt>
    <dgm:pt modelId="{38B734E4-7942-48C5-9E85-16001B0E2C71}" type="sibTrans" cxnId="{A706D507-B7A6-4C4A-9331-126227F6C043}">
      <dgm:prSet/>
      <dgm:spPr/>
      <dgm:t>
        <a:bodyPr/>
        <a:lstStyle/>
        <a:p>
          <a:endParaRPr lang="pt-BR"/>
        </a:p>
      </dgm:t>
    </dgm:pt>
    <dgm:pt modelId="{D039B0C1-A461-47DA-BA15-10C8A5F1EC58}" type="parTrans" cxnId="{A706D507-B7A6-4C4A-9331-126227F6C043}">
      <dgm:prSet/>
      <dgm:spPr/>
      <dgm:t>
        <a:bodyPr/>
        <a:lstStyle/>
        <a:p>
          <a:endParaRPr lang="pt-BR"/>
        </a:p>
      </dgm:t>
    </dgm:pt>
    <dgm:pt modelId="{39B78235-6B49-481E-8A69-A43D605BE618}" type="pres">
      <dgm:prSet presAssocID="{CD26F62B-22A9-497B-AFBA-C7EC9DBAB4F6}" presName="Name0" presStyleCnt="0">
        <dgm:presLayoutVars>
          <dgm:dir/>
          <dgm:animLvl val="lvl"/>
          <dgm:resizeHandles val="exact"/>
        </dgm:presLayoutVars>
      </dgm:prSet>
      <dgm:spPr/>
    </dgm:pt>
    <dgm:pt modelId="{BFB50B95-6C9B-4A8A-BCB8-A290DDEC30FF}" type="pres">
      <dgm:prSet presAssocID="{A3BBE326-1ACD-45FC-B2B6-96F8507E3681}" presName="vertFlow" presStyleCnt="0"/>
      <dgm:spPr/>
    </dgm:pt>
    <dgm:pt modelId="{73025F19-DEDA-41B3-B79C-D4BF8DC81D3C}" type="pres">
      <dgm:prSet presAssocID="{A3BBE326-1ACD-45FC-B2B6-96F8507E3681}" presName="header" presStyleLbl="node1" presStyleIdx="0" presStyleCnt="1" custAng="10800000" custFlipVert="1" custScaleX="130665" custScaleY="143417" custLinFactY="8617" custLinFactNeighborX="-73737" custLinFactNeighborY="100000"/>
      <dgm:spPr/>
    </dgm:pt>
  </dgm:ptLst>
  <dgm:cxnLst>
    <dgm:cxn modelId="{A706D507-B7A6-4C4A-9331-126227F6C043}" srcId="{CD26F62B-22A9-497B-AFBA-C7EC9DBAB4F6}" destId="{A3BBE326-1ACD-45FC-B2B6-96F8507E3681}" srcOrd="0" destOrd="0" parTransId="{D039B0C1-A461-47DA-BA15-10C8A5F1EC58}" sibTransId="{38B734E4-7942-48C5-9E85-16001B0E2C71}"/>
    <dgm:cxn modelId="{42927A6F-E278-4BB4-8A80-A11435A51BF1}" type="presOf" srcId="{A3BBE326-1ACD-45FC-B2B6-96F8507E3681}" destId="{73025F19-DEDA-41B3-B79C-D4BF8DC81D3C}" srcOrd="0" destOrd="0" presId="urn:microsoft.com/office/officeart/2005/8/layout/lProcess1"/>
    <dgm:cxn modelId="{44668E80-43FA-4034-B1D0-C4F2C2687711}" type="presOf" srcId="{CD26F62B-22A9-497B-AFBA-C7EC9DBAB4F6}" destId="{39B78235-6B49-481E-8A69-A43D605BE618}" srcOrd="0" destOrd="0" presId="urn:microsoft.com/office/officeart/2005/8/layout/lProcess1"/>
    <dgm:cxn modelId="{41F6FE91-EF8C-4C7C-BDE3-4B92C0D01CDF}" type="presParOf" srcId="{39B78235-6B49-481E-8A69-A43D605BE618}" destId="{BFB50B95-6C9B-4A8A-BCB8-A290DDEC30FF}" srcOrd="0" destOrd="0" presId="urn:microsoft.com/office/officeart/2005/8/layout/lProcess1"/>
    <dgm:cxn modelId="{23E91C97-90AA-4776-88AF-B15EBA17BB6A}" type="presParOf" srcId="{BFB50B95-6C9B-4A8A-BCB8-A290DDEC30FF}" destId="{73025F19-DEDA-41B3-B79C-D4BF8DC81D3C}" srcOrd="0" destOrd="0" presId="urn:microsoft.com/office/officeart/2005/8/layout/lProcess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2.xml><?xml version="1.0" encoding="utf-8"?>
<dgm:dataModel xmlns:dgm="http://schemas.openxmlformats.org/drawingml/2006/diagram" xmlns:a="http://schemas.openxmlformats.org/drawingml/2006/main">
  <dgm:ptLst>
    <dgm:pt modelId="{CD26F62B-22A9-497B-AFBA-C7EC9DBAB4F6}" type="doc">
      <dgm:prSet loTypeId="urn:microsoft.com/office/officeart/2005/8/layout/lProcess1" loCatId="process" qsTypeId="urn:microsoft.com/office/officeart/2005/8/quickstyle/simple2" qsCatId="simple" csTypeId="urn:microsoft.com/office/officeart/2005/8/colors/accent1_4" csCatId="accent1" phldr="1"/>
      <dgm:spPr/>
      <dgm:t>
        <a:bodyPr/>
        <a:lstStyle/>
        <a:p>
          <a:endParaRPr lang="pt-BR"/>
        </a:p>
      </dgm:t>
    </dgm:pt>
    <dgm:pt modelId="{A3BBE326-1ACD-45FC-B2B6-96F8507E3681}">
      <dgm:prSet phldrT="[Texto]" custT="1"/>
      <dgm:spPr>
        <a:solidFill>
          <a:schemeClr val="accent3">
            <a:lumMod val="75000"/>
          </a:schemeClr>
        </a:solidFill>
      </dgm:spPr>
      <dgm:t>
        <a:bodyPr/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pt-BR" sz="2000" b="1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Decisão Diretoria ANAC</a:t>
          </a:r>
        </a:p>
        <a:p>
          <a:pPr marL="0"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b="0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(instância recursal)</a:t>
          </a:r>
        </a:p>
      </dgm:t>
    </dgm:pt>
    <dgm:pt modelId="{38B734E4-7942-48C5-9E85-16001B0E2C71}" type="sibTrans" cxnId="{A706D507-B7A6-4C4A-9331-126227F6C043}">
      <dgm:prSet/>
      <dgm:spPr/>
      <dgm:t>
        <a:bodyPr/>
        <a:lstStyle/>
        <a:p>
          <a:endParaRPr lang="pt-BR"/>
        </a:p>
      </dgm:t>
    </dgm:pt>
    <dgm:pt modelId="{D039B0C1-A461-47DA-BA15-10C8A5F1EC58}" type="parTrans" cxnId="{A706D507-B7A6-4C4A-9331-126227F6C043}">
      <dgm:prSet/>
      <dgm:spPr/>
      <dgm:t>
        <a:bodyPr/>
        <a:lstStyle/>
        <a:p>
          <a:endParaRPr lang="pt-BR"/>
        </a:p>
      </dgm:t>
    </dgm:pt>
    <dgm:pt modelId="{39B78235-6B49-481E-8A69-A43D605BE618}" type="pres">
      <dgm:prSet presAssocID="{CD26F62B-22A9-497B-AFBA-C7EC9DBAB4F6}" presName="Name0" presStyleCnt="0">
        <dgm:presLayoutVars>
          <dgm:dir/>
          <dgm:animLvl val="lvl"/>
          <dgm:resizeHandles val="exact"/>
        </dgm:presLayoutVars>
      </dgm:prSet>
      <dgm:spPr/>
    </dgm:pt>
    <dgm:pt modelId="{BFB50B95-6C9B-4A8A-BCB8-A290DDEC30FF}" type="pres">
      <dgm:prSet presAssocID="{A3BBE326-1ACD-45FC-B2B6-96F8507E3681}" presName="vertFlow" presStyleCnt="0"/>
      <dgm:spPr/>
    </dgm:pt>
    <dgm:pt modelId="{73025F19-DEDA-41B3-B79C-D4BF8DC81D3C}" type="pres">
      <dgm:prSet presAssocID="{A3BBE326-1ACD-45FC-B2B6-96F8507E3681}" presName="header" presStyleLbl="node1" presStyleIdx="0" presStyleCnt="1" custAng="10800000" custFlipVert="1" custScaleX="125547" custScaleY="100000" custLinFactNeighborX="965" custLinFactNeighborY="5868"/>
      <dgm:spPr/>
    </dgm:pt>
  </dgm:ptLst>
  <dgm:cxnLst>
    <dgm:cxn modelId="{A706D507-B7A6-4C4A-9331-126227F6C043}" srcId="{CD26F62B-22A9-497B-AFBA-C7EC9DBAB4F6}" destId="{A3BBE326-1ACD-45FC-B2B6-96F8507E3681}" srcOrd="0" destOrd="0" parTransId="{D039B0C1-A461-47DA-BA15-10C8A5F1EC58}" sibTransId="{38B734E4-7942-48C5-9E85-16001B0E2C71}"/>
    <dgm:cxn modelId="{42927A6F-E278-4BB4-8A80-A11435A51BF1}" type="presOf" srcId="{A3BBE326-1ACD-45FC-B2B6-96F8507E3681}" destId="{73025F19-DEDA-41B3-B79C-D4BF8DC81D3C}" srcOrd="0" destOrd="0" presId="urn:microsoft.com/office/officeart/2005/8/layout/lProcess1"/>
    <dgm:cxn modelId="{44668E80-43FA-4034-B1D0-C4F2C2687711}" type="presOf" srcId="{CD26F62B-22A9-497B-AFBA-C7EC9DBAB4F6}" destId="{39B78235-6B49-481E-8A69-A43D605BE618}" srcOrd="0" destOrd="0" presId="urn:microsoft.com/office/officeart/2005/8/layout/lProcess1"/>
    <dgm:cxn modelId="{41F6FE91-EF8C-4C7C-BDE3-4B92C0D01CDF}" type="presParOf" srcId="{39B78235-6B49-481E-8A69-A43D605BE618}" destId="{BFB50B95-6C9B-4A8A-BCB8-A290DDEC30FF}" srcOrd="0" destOrd="0" presId="urn:microsoft.com/office/officeart/2005/8/layout/lProcess1"/>
    <dgm:cxn modelId="{23E91C97-90AA-4776-88AF-B15EBA17BB6A}" type="presParOf" srcId="{BFB50B95-6C9B-4A8A-BCB8-A290DDEC30FF}" destId="{73025F19-DEDA-41B3-B79C-D4BF8DC81D3C}" srcOrd="0" destOrd="0" presId="urn:microsoft.com/office/officeart/2005/8/layout/lProcess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33.xml><?xml version="1.0" encoding="utf-8"?>
<dgm:dataModel xmlns:dgm="http://schemas.openxmlformats.org/drawingml/2006/diagram" xmlns:a="http://schemas.openxmlformats.org/drawingml/2006/main">
  <dgm:ptLst>
    <dgm:pt modelId="{CD26F62B-22A9-497B-AFBA-C7EC9DBAB4F6}" type="doc">
      <dgm:prSet loTypeId="urn:microsoft.com/office/officeart/2005/8/layout/lProcess1" loCatId="process" qsTypeId="urn:microsoft.com/office/officeart/2005/8/quickstyle/simple2" qsCatId="simple" csTypeId="urn:microsoft.com/office/officeart/2005/8/colors/accent1_4" csCatId="accent1" phldr="1"/>
      <dgm:spPr/>
      <dgm:t>
        <a:bodyPr/>
        <a:lstStyle/>
        <a:p>
          <a:endParaRPr lang="pt-BR"/>
        </a:p>
      </dgm:t>
    </dgm:pt>
    <dgm:pt modelId="{A3BBE326-1ACD-45FC-B2B6-96F8507E3681}">
      <dgm:prSet phldrT="[Texto]" custT="1"/>
      <dgm:spPr>
        <a:solidFill>
          <a:schemeClr val="accent3">
            <a:lumMod val="75000"/>
          </a:schemeClr>
        </a:solidFill>
      </dgm:spPr>
      <dgm:t>
        <a:bodyPr/>
        <a:lstStyle/>
        <a:p>
          <a:pPr algn="ctr"/>
          <a:r>
            <a:rPr lang="pt-BR" sz="2000" b="1" dirty="0"/>
            <a:t>Reconsideração pela área técnica</a:t>
          </a:r>
        </a:p>
      </dgm:t>
    </dgm:pt>
    <dgm:pt modelId="{38B734E4-7942-48C5-9E85-16001B0E2C71}" type="sibTrans" cxnId="{A706D507-B7A6-4C4A-9331-126227F6C043}">
      <dgm:prSet/>
      <dgm:spPr/>
      <dgm:t>
        <a:bodyPr/>
        <a:lstStyle/>
        <a:p>
          <a:endParaRPr lang="pt-BR"/>
        </a:p>
      </dgm:t>
    </dgm:pt>
    <dgm:pt modelId="{D039B0C1-A461-47DA-BA15-10C8A5F1EC58}" type="parTrans" cxnId="{A706D507-B7A6-4C4A-9331-126227F6C043}">
      <dgm:prSet/>
      <dgm:spPr/>
      <dgm:t>
        <a:bodyPr/>
        <a:lstStyle/>
        <a:p>
          <a:endParaRPr lang="pt-BR"/>
        </a:p>
      </dgm:t>
    </dgm:pt>
    <dgm:pt modelId="{39B78235-6B49-481E-8A69-A43D605BE618}" type="pres">
      <dgm:prSet presAssocID="{CD26F62B-22A9-497B-AFBA-C7EC9DBAB4F6}" presName="Name0" presStyleCnt="0">
        <dgm:presLayoutVars>
          <dgm:dir/>
          <dgm:animLvl val="lvl"/>
          <dgm:resizeHandles val="exact"/>
        </dgm:presLayoutVars>
      </dgm:prSet>
      <dgm:spPr/>
    </dgm:pt>
    <dgm:pt modelId="{BFB50B95-6C9B-4A8A-BCB8-A290DDEC30FF}" type="pres">
      <dgm:prSet presAssocID="{A3BBE326-1ACD-45FC-B2B6-96F8507E3681}" presName="vertFlow" presStyleCnt="0"/>
      <dgm:spPr/>
    </dgm:pt>
    <dgm:pt modelId="{73025F19-DEDA-41B3-B79C-D4BF8DC81D3C}" type="pres">
      <dgm:prSet presAssocID="{A3BBE326-1ACD-45FC-B2B6-96F8507E3681}" presName="header" presStyleLbl="node1" presStyleIdx="0" presStyleCnt="1" custAng="10800000" custFlipVert="1" custScaleX="141730" custScaleY="100000" custLinFactY="16501" custLinFactNeighborX="-6664" custLinFactNeighborY="100000"/>
      <dgm:spPr/>
    </dgm:pt>
  </dgm:ptLst>
  <dgm:cxnLst>
    <dgm:cxn modelId="{A706D507-B7A6-4C4A-9331-126227F6C043}" srcId="{CD26F62B-22A9-497B-AFBA-C7EC9DBAB4F6}" destId="{A3BBE326-1ACD-45FC-B2B6-96F8507E3681}" srcOrd="0" destOrd="0" parTransId="{D039B0C1-A461-47DA-BA15-10C8A5F1EC58}" sibTransId="{38B734E4-7942-48C5-9E85-16001B0E2C71}"/>
    <dgm:cxn modelId="{42927A6F-E278-4BB4-8A80-A11435A51BF1}" type="presOf" srcId="{A3BBE326-1ACD-45FC-B2B6-96F8507E3681}" destId="{73025F19-DEDA-41B3-B79C-D4BF8DC81D3C}" srcOrd="0" destOrd="0" presId="urn:microsoft.com/office/officeart/2005/8/layout/lProcess1"/>
    <dgm:cxn modelId="{44668E80-43FA-4034-B1D0-C4F2C2687711}" type="presOf" srcId="{CD26F62B-22A9-497B-AFBA-C7EC9DBAB4F6}" destId="{39B78235-6B49-481E-8A69-A43D605BE618}" srcOrd="0" destOrd="0" presId="urn:microsoft.com/office/officeart/2005/8/layout/lProcess1"/>
    <dgm:cxn modelId="{41F6FE91-EF8C-4C7C-BDE3-4B92C0D01CDF}" type="presParOf" srcId="{39B78235-6B49-481E-8A69-A43D605BE618}" destId="{BFB50B95-6C9B-4A8A-BCB8-A290DDEC30FF}" srcOrd="0" destOrd="0" presId="urn:microsoft.com/office/officeart/2005/8/layout/lProcess1"/>
    <dgm:cxn modelId="{23E91C97-90AA-4776-88AF-B15EBA17BB6A}" type="presParOf" srcId="{BFB50B95-6C9B-4A8A-BCB8-A290DDEC30FF}" destId="{73025F19-DEDA-41B3-B79C-D4BF8DC81D3C}" srcOrd="0" destOrd="0" presId="urn:microsoft.com/office/officeart/2005/8/layout/lProcess1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34.xml><?xml version="1.0" encoding="utf-8"?>
<dgm:dataModel xmlns:dgm="http://schemas.openxmlformats.org/drawingml/2006/diagram" xmlns:a="http://schemas.openxmlformats.org/drawingml/2006/main">
  <dgm:ptLst>
    <dgm:pt modelId="{78E24417-5166-417F-88CA-E1EAA1C08EDF}" type="doc">
      <dgm:prSet loTypeId="urn:microsoft.com/office/officeart/2005/8/layout/vList5" loCatId="list" qsTypeId="urn:microsoft.com/office/officeart/2005/8/quickstyle/simple2" qsCatId="simple" csTypeId="urn:microsoft.com/office/officeart/2005/8/colors/accent1_3" csCatId="accent1" phldr="1"/>
      <dgm:spPr/>
      <dgm:t>
        <a:bodyPr/>
        <a:lstStyle/>
        <a:p>
          <a:endParaRPr lang="pt-BR"/>
        </a:p>
      </dgm:t>
    </dgm:pt>
    <dgm:pt modelId="{B51211AD-4E37-4698-B5BE-CDDA3F060FAC}">
      <dgm:prSet phldrT="[Texto]" custT="1"/>
      <dgm:spPr/>
      <dgm:t>
        <a:bodyPr/>
        <a:lstStyle/>
        <a:p>
          <a:pPr marL="0" lvl="1" indent="0" algn="just" defTabSz="533400">
            <a:lnSpc>
              <a:spcPct val="90000"/>
            </a:lnSpc>
            <a:spcBef>
              <a:spcPct val="0"/>
            </a:spcBef>
            <a:spcAft>
              <a:spcPts val="1200"/>
            </a:spcAft>
            <a:buNone/>
          </a:pPr>
          <a:r>
            <a:rPr lang="pt-BR" sz="1600" kern="1200" dirty="0">
              <a:solidFill>
                <a:prstClr val="black"/>
              </a:solidFill>
              <a:latin typeface="Calibri"/>
              <a:ea typeface="+mn-ea"/>
              <a:cs typeface="+mn-cs"/>
            </a:rPr>
            <a:t>Art. 9º. </a:t>
          </a:r>
          <a:r>
            <a:rPr lang="pt-BR" sz="1600" b="1" kern="1200" dirty="0">
              <a:solidFill>
                <a:prstClr val="black"/>
              </a:solidFill>
              <a:latin typeface="Calibri"/>
              <a:ea typeface="+mn-ea"/>
              <a:cs typeface="+mn-cs"/>
            </a:rPr>
            <a:t>Na hipótese de indeferimento </a:t>
          </a:r>
          <a:r>
            <a:rPr lang="pt-BR" sz="1600" kern="1200" dirty="0">
              <a:solidFill>
                <a:prstClr val="black"/>
              </a:solidFill>
              <a:latin typeface="Calibri"/>
              <a:ea typeface="+mn-ea"/>
              <a:cs typeface="+mn-cs"/>
            </a:rPr>
            <a:t>do pedido pela área técnica, a ANAC oficiará à Concessionária acerca de sua decisão,</a:t>
          </a:r>
          <a:r>
            <a:rPr lang="pt-BR" sz="1600" b="1" kern="1200" dirty="0">
              <a:solidFill>
                <a:prstClr val="black"/>
              </a:solidFill>
              <a:latin typeface="Calibri"/>
              <a:ea typeface="+mn-ea"/>
              <a:cs typeface="+mn-cs"/>
            </a:rPr>
            <a:t> em primeira instância</a:t>
          </a:r>
          <a:r>
            <a:rPr lang="pt-BR" sz="1600" kern="1200" dirty="0">
              <a:solidFill>
                <a:prstClr val="black"/>
              </a:solidFill>
              <a:latin typeface="Calibri"/>
              <a:ea typeface="+mn-ea"/>
              <a:cs typeface="+mn-cs"/>
            </a:rPr>
            <a:t>, em relação ao evento que ensejou o pedido de Revisão Extraordinária e encaminhará a nota técnica com a motivação para que dela tome conhecimento.</a:t>
          </a:r>
        </a:p>
      </dgm:t>
    </dgm:pt>
    <dgm:pt modelId="{BBA57CAF-1BF1-44FC-B50F-C9213B693484}" type="parTrans" cxnId="{B7294B36-69F4-4A11-8CC0-E17042871689}">
      <dgm:prSet/>
      <dgm:spPr/>
      <dgm:t>
        <a:bodyPr/>
        <a:lstStyle/>
        <a:p>
          <a:endParaRPr lang="pt-BR"/>
        </a:p>
      </dgm:t>
    </dgm:pt>
    <dgm:pt modelId="{5F9E3690-2B35-4722-9B8E-7EE9468AA6A5}" type="sibTrans" cxnId="{B7294B36-69F4-4A11-8CC0-E17042871689}">
      <dgm:prSet/>
      <dgm:spPr/>
      <dgm:t>
        <a:bodyPr/>
        <a:lstStyle/>
        <a:p>
          <a:endParaRPr lang="pt-BR"/>
        </a:p>
      </dgm:t>
    </dgm:pt>
    <dgm:pt modelId="{AFA14602-C2C3-4993-B464-C0439617D1CE}">
      <dgm:prSet phldrT="[Texto]" custT="1"/>
      <dgm:spPr/>
      <dgm:t>
        <a:bodyPr/>
        <a:lstStyle/>
        <a:p>
          <a:r>
            <a:rPr lang="pt-BR" sz="1800" b="1" dirty="0">
              <a:latin typeface="+mn-lt"/>
            </a:rPr>
            <a:t>Proposta de redação</a:t>
          </a:r>
        </a:p>
      </dgm:t>
    </dgm:pt>
    <dgm:pt modelId="{42A43094-7D35-47B1-984C-BE7DEA83E87A}" type="sibTrans" cxnId="{1F297C19-993D-4A4E-BF0E-7C030993873D}">
      <dgm:prSet/>
      <dgm:spPr/>
      <dgm:t>
        <a:bodyPr/>
        <a:lstStyle/>
        <a:p>
          <a:endParaRPr lang="pt-BR"/>
        </a:p>
      </dgm:t>
    </dgm:pt>
    <dgm:pt modelId="{4F81E50F-F92B-4D22-A8DE-920261E3C033}" type="parTrans" cxnId="{1F297C19-993D-4A4E-BF0E-7C030993873D}">
      <dgm:prSet/>
      <dgm:spPr/>
      <dgm:t>
        <a:bodyPr/>
        <a:lstStyle/>
        <a:p>
          <a:endParaRPr lang="pt-BR"/>
        </a:p>
      </dgm:t>
    </dgm:pt>
    <dgm:pt modelId="{90827106-3D82-4944-AE2E-9EAA033A67D7}">
      <dgm:prSet custT="1"/>
      <dgm:spPr/>
      <dgm:t>
        <a:bodyPr/>
        <a:lstStyle/>
        <a:p>
          <a:pPr marL="0" lvl="1" indent="0" algn="just" defTabSz="533400">
            <a:lnSpc>
              <a:spcPct val="90000"/>
            </a:lnSpc>
            <a:spcBef>
              <a:spcPct val="0"/>
            </a:spcBef>
            <a:spcAft>
              <a:spcPts val="1200"/>
            </a:spcAft>
            <a:buFont typeface="Calibri"/>
            <a:buNone/>
          </a:pPr>
          <a:r>
            <a:rPr lang="pt-BR" sz="1600" kern="1200" dirty="0">
              <a:solidFill>
                <a:prstClr val="black"/>
              </a:solidFill>
              <a:latin typeface="Calibri"/>
              <a:ea typeface="+mn-ea"/>
              <a:cs typeface="+mn-cs"/>
            </a:rPr>
            <a:t>Art. 10. A Concessionária terá o </a:t>
          </a:r>
          <a:r>
            <a:rPr lang="pt-BR" sz="1600" b="1" kern="1200" dirty="0">
              <a:solidFill>
                <a:prstClr val="black"/>
              </a:solidFill>
              <a:latin typeface="Calibri"/>
              <a:ea typeface="+mn-ea"/>
              <a:cs typeface="+mn-cs"/>
            </a:rPr>
            <a:t>prazo de 10 (dez) dias </a:t>
          </a:r>
          <a:r>
            <a:rPr lang="pt-BR" sz="1600" kern="1200" dirty="0">
              <a:solidFill>
                <a:prstClr val="black"/>
              </a:solidFill>
              <a:latin typeface="Calibri"/>
              <a:ea typeface="+mn-ea"/>
              <a:cs typeface="+mn-cs"/>
            </a:rPr>
            <a:t>para interposição de recurso administrativo, contado a partir da ciência ou divulgação oficial da decisão recorrida.</a:t>
          </a:r>
        </a:p>
      </dgm:t>
    </dgm:pt>
    <dgm:pt modelId="{DF39B3F0-5966-453B-A0BB-990E264CC7A6}" type="parTrans" cxnId="{1469AA29-6FD1-4FE1-B3D8-C51A3DC44C29}">
      <dgm:prSet/>
      <dgm:spPr/>
      <dgm:t>
        <a:bodyPr/>
        <a:lstStyle/>
        <a:p>
          <a:endParaRPr lang="pt-BR"/>
        </a:p>
      </dgm:t>
    </dgm:pt>
    <dgm:pt modelId="{3857EB49-779C-4351-B005-671F9454E18F}" type="sibTrans" cxnId="{1469AA29-6FD1-4FE1-B3D8-C51A3DC44C29}">
      <dgm:prSet/>
      <dgm:spPr/>
      <dgm:t>
        <a:bodyPr/>
        <a:lstStyle/>
        <a:p>
          <a:endParaRPr lang="pt-BR"/>
        </a:p>
      </dgm:t>
    </dgm:pt>
    <dgm:pt modelId="{57D3001E-5C61-4488-AD2F-D6F772C10157}">
      <dgm:prSet custT="1"/>
      <dgm:spPr/>
      <dgm:t>
        <a:bodyPr/>
        <a:lstStyle/>
        <a:p>
          <a:pPr marL="0" lvl="1" indent="0" algn="just" defTabSz="533400">
            <a:lnSpc>
              <a:spcPct val="90000"/>
            </a:lnSpc>
            <a:spcBef>
              <a:spcPct val="0"/>
            </a:spcBef>
            <a:spcAft>
              <a:spcPts val="1200"/>
            </a:spcAft>
            <a:buFont typeface="Calibri"/>
            <a:buNone/>
          </a:pPr>
          <a:r>
            <a:rPr lang="pt-BR" sz="1600" kern="1200" dirty="0">
              <a:solidFill>
                <a:prstClr val="black"/>
              </a:solidFill>
              <a:latin typeface="Calibri"/>
              <a:ea typeface="+mn-ea"/>
              <a:cs typeface="+mn-cs"/>
            </a:rPr>
            <a:t>Art. 11. A instância que proferiu a decisão fará seu </a:t>
          </a:r>
          <a:r>
            <a:rPr lang="pt-BR" sz="1600" b="1" kern="1200" dirty="0">
              <a:solidFill>
                <a:prstClr val="black"/>
              </a:solidFill>
              <a:latin typeface="Calibri"/>
              <a:ea typeface="+mn-ea"/>
              <a:cs typeface="+mn-cs"/>
            </a:rPr>
            <a:t>juízo de reconsideração </a:t>
          </a:r>
          <a:r>
            <a:rPr lang="pt-BR" sz="1600" kern="1200" dirty="0">
              <a:solidFill>
                <a:prstClr val="black"/>
              </a:solidFill>
              <a:latin typeface="Calibri"/>
              <a:ea typeface="+mn-ea"/>
              <a:cs typeface="+mn-cs"/>
            </a:rPr>
            <a:t>levando em conta as alegações apresentadas pela Concessionária no recurso.</a:t>
          </a:r>
        </a:p>
      </dgm:t>
    </dgm:pt>
    <dgm:pt modelId="{68B20A9A-309E-4FE0-AE00-A6DF7A765AFD}" type="parTrans" cxnId="{85F490F6-6B0E-4D30-B9FF-02DF74D11DFD}">
      <dgm:prSet/>
      <dgm:spPr/>
      <dgm:t>
        <a:bodyPr/>
        <a:lstStyle/>
        <a:p>
          <a:endParaRPr lang="pt-BR"/>
        </a:p>
      </dgm:t>
    </dgm:pt>
    <dgm:pt modelId="{6D0E6663-A5D6-41FB-BC44-6EA4C50F364A}" type="sibTrans" cxnId="{85F490F6-6B0E-4D30-B9FF-02DF74D11DFD}">
      <dgm:prSet/>
      <dgm:spPr/>
      <dgm:t>
        <a:bodyPr/>
        <a:lstStyle/>
        <a:p>
          <a:endParaRPr lang="pt-BR"/>
        </a:p>
      </dgm:t>
    </dgm:pt>
    <dgm:pt modelId="{8822ACF2-BD2C-45F5-9FF8-B47944C41792}">
      <dgm:prSet custT="1"/>
      <dgm:spPr/>
      <dgm:t>
        <a:bodyPr/>
        <a:lstStyle/>
        <a:p>
          <a:pPr marL="0" lvl="1" indent="0" algn="just" defTabSz="533400">
            <a:lnSpc>
              <a:spcPct val="90000"/>
            </a:lnSpc>
            <a:spcBef>
              <a:spcPct val="0"/>
            </a:spcBef>
            <a:spcAft>
              <a:spcPts val="1200"/>
            </a:spcAft>
            <a:buFont typeface="Calibri"/>
            <a:buNone/>
          </a:pPr>
          <a:r>
            <a:rPr lang="pt-BR" sz="1600" kern="1200" dirty="0">
              <a:solidFill>
                <a:prstClr val="black"/>
              </a:solidFill>
              <a:latin typeface="Calibri"/>
              <a:ea typeface="+mn-ea"/>
              <a:cs typeface="+mn-cs"/>
            </a:rPr>
            <a:t>Parágrafo único: No caso de não reconsideração da decisão de que trata o art. 9º, a área técnica encaminhará o </a:t>
          </a:r>
          <a:r>
            <a:rPr lang="pt-BR" sz="1600" b="1" kern="1200" dirty="0">
              <a:solidFill>
                <a:prstClr val="black"/>
              </a:solidFill>
              <a:latin typeface="Calibri"/>
              <a:ea typeface="+mn-ea"/>
              <a:cs typeface="+mn-cs"/>
            </a:rPr>
            <a:t>recurso à Diretoria para decisão</a:t>
          </a:r>
          <a:r>
            <a:rPr lang="pt-BR" sz="1600" b="0" kern="1200" dirty="0">
              <a:solidFill>
                <a:prstClr val="black"/>
              </a:solidFill>
              <a:latin typeface="Calibri"/>
              <a:ea typeface="+mn-ea"/>
              <a:cs typeface="+mn-cs"/>
            </a:rPr>
            <a:t>.</a:t>
          </a:r>
        </a:p>
      </dgm:t>
    </dgm:pt>
    <dgm:pt modelId="{EC7E9222-DBA3-41C9-8E3F-920575C9349C}" type="parTrans" cxnId="{F875A98F-ACB2-4AAC-9F3F-A966CDE18635}">
      <dgm:prSet/>
      <dgm:spPr/>
      <dgm:t>
        <a:bodyPr/>
        <a:lstStyle/>
        <a:p>
          <a:endParaRPr lang="pt-BR"/>
        </a:p>
      </dgm:t>
    </dgm:pt>
    <dgm:pt modelId="{E4D68F19-17D0-467D-8EC7-7035FB696438}" type="sibTrans" cxnId="{F875A98F-ACB2-4AAC-9F3F-A966CDE18635}">
      <dgm:prSet/>
      <dgm:spPr/>
      <dgm:t>
        <a:bodyPr/>
        <a:lstStyle/>
        <a:p>
          <a:endParaRPr lang="pt-BR"/>
        </a:p>
      </dgm:t>
    </dgm:pt>
    <dgm:pt modelId="{2AEF5431-DA26-4449-BE5E-58391598683E}" type="pres">
      <dgm:prSet presAssocID="{78E24417-5166-417F-88CA-E1EAA1C08EDF}" presName="Name0" presStyleCnt="0">
        <dgm:presLayoutVars>
          <dgm:dir/>
          <dgm:animLvl val="lvl"/>
          <dgm:resizeHandles val="exact"/>
        </dgm:presLayoutVars>
      </dgm:prSet>
      <dgm:spPr/>
    </dgm:pt>
    <dgm:pt modelId="{E43D12A8-9220-4F93-BBBD-757BF2B670A9}" type="pres">
      <dgm:prSet presAssocID="{AFA14602-C2C3-4993-B464-C0439617D1CE}" presName="linNode" presStyleCnt="0"/>
      <dgm:spPr/>
    </dgm:pt>
    <dgm:pt modelId="{1C479F0B-C610-4C88-A4DB-38C5FDE7CD99}" type="pres">
      <dgm:prSet presAssocID="{AFA14602-C2C3-4993-B464-C0439617D1CE}" presName="parentText" presStyleLbl="node1" presStyleIdx="0" presStyleCnt="1" custScaleX="54905" custLinFactNeighborY="1871">
        <dgm:presLayoutVars>
          <dgm:chMax val="1"/>
          <dgm:bulletEnabled val="1"/>
        </dgm:presLayoutVars>
      </dgm:prSet>
      <dgm:spPr/>
    </dgm:pt>
    <dgm:pt modelId="{9B5FC0C6-3F7C-4FEA-88D9-1EFDA05882FF}" type="pres">
      <dgm:prSet presAssocID="{AFA14602-C2C3-4993-B464-C0439617D1CE}" presName="descendantText" presStyleLbl="alignAccFollowNode1" presStyleIdx="0" presStyleCnt="1" custScaleX="123575" custScaleY="125122" custLinFactNeighborY="2277">
        <dgm:presLayoutVars>
          <dgm:bulletEnabled val="1"/>
        </dgm:presLayoutVars>
      </dgm:prSet>
      <dgm:spPr/>
    </dgm:pt>
  </dgm:ptLst>
  <dgm:cxnLst>
    <dgm:cxn modelId="{1F297C19-993D-4A4E-BF0E-7C030993873D}" srcId="{78E24417-5166-417F-88CA-E1EAA1C08EDF}" destId="{AFA14602-C2C3-4993-B464-C0439617D1CE}" srcOrd="0" destOrd="0" parTransId="{4F81E50F-F92B-4D22-A8DE-920261E3C033}" sibTransId="{42A43094-7D35-47B1-984C-BE7DEA83E87A}"/>
    <dgm:cxn modelId="{A7C7CA22-1A20-40BE-A25A-71EBC5C78ACB}" type="presOf" srcId="{78E24417-5166-417F-88CA-E1EAA1C08EDF}" destId="{2AEF5431-DA26-4449-BE5E-58391598683E}" srcOrd="0" destOrd="0" presId="urn:microsoft.com/office/officeart/2005/8/layout/vList5"/>
    <dgm:cxn modelId="{1469AA29-6FD1-4FE1-B3D8-C51A3DC44C29}" srcId="{AFA14602-C2C3-4993-B464-C0439617D1CE}" destId="{90827106-3D82-4944-AE2E-9EAA033A67D7}" srcOrd="1" destOrd="0" parTransId="{DF39B3F0-5966-453B-A0BB-990E264CC7A6}" sibTransId="{3857EB49-779C-4351-B005-671F9454E18F}"/>
    <dgm:cxn modelId="{B7294B36-69F4-4A11-8CC0-E17042871689}" srcId="{AFA14602-C2C3-4993-B464-C0439617D1CE}" destId="{B51211AD-4E37-4698-B5BE-CDDA3F060FAC}" srcOrd="0" destOrd="0" parTransId="{BBA57CAF-1BF1-44FC-B50F-C9213B693484}" sibTransId="{5F9E3690-2B35-4722-9B8E-7EE9468AA6A5}"/>
    <dgm:cxn modelId="{43CB3A7E-CFE5-4F59-B062-BDE6C40A1298}" type="presOf" srcId="{90827106-3D82-4944-AE2E-9EAA033A67D7}" destId="{9B5FC0C6-3F7C-4FEA-88D9-1EFDA05882FF}" srcOrd="0" destOrd="1" presId="urn:microsoft.com/office/officeart/2005/8/layout/vList5"/>
    <dgm:cxn modelId="{BC85F883-9CD7-4554-B01E-105ECB7D44F8}" type="presOf" srcId="{B51211AD-4E37-4698-B5BE-CDDA3F060FAC}" destId="{9B5FC0C6-3F7C-4FEA-88D9-1EFDA05882FF}" srcOrd="0" destOrd="0" presId="urn:microsoft.com/office/officeart/2005/8/layout/vList5"/>
    <dgm:cxn modelId="{F875A98F-ACB2-4AAC-9F3F-A966CDE18635}" srcId="{AFA14602-C2C3-4993-B464-C0439617D1CE}" destId="{8822ACF2-BD2C-45F5-9FF8-B47944C41792}" srcOrd="3" destOrd="0" parTransId="{EC7E9222-DBA3-41C9-8E3F-920575C9349C}" sibTransId="{E4D68F19-17D0-467D-8EC7-7035FB696438}"/>
    <dgm:cxn modelId="{5B80FDB0-8F0F-48C5-B227-E795372EF834}" type="presOf" srcId="{AFA14602-C2C3-4993-B464-C0439617D1CE}" destId="{1C479F0B-C610-4C88-A4DB-38C5FDE7CD99}" srcOrd="0" destOrd="0" presId="urn:microsoft.com/office/officeart/2005/8/layout/vList5"/>
    <dgm:cxn modelId="{53E00FC2-ADF4-4938-B58E-5306F63E6CC0}" type="presOf" srcId="{8822ACF2-BD2C-45F5-9FF8-B47944C41792}" destId="{9B5FC0C6-3F7C-4FEA-88D9-1EFDA05882FF}" srcOrd="0" destOrd="3" presId="urn:microsoft.com/office/officeart/2005/8/layout/vList5"/>
    <dgm:cxn modelId="{9BC8F3EA-9FBA-440D-BD90-DF86FC850422}" type="presOf" srcId="{57D3001E-5C61-4488-AD2F-D6F772C10157}" destId="{9B5FC0C6-3F7C-4FEA-88D9-1EFDA05882FF}" srcOrd="0" destOrd="2" presId="urn:microsoft.com/office/officeart/2005/8/layout/vList5"/>
    <dgm:cxn modelId="{85F490F6-6B0E-4D30-B9FF-02DF74D11DFD}" srcId="{AFA14602-C2C3-4993-B464-C0439617D1CE}" destId="{57D3001E-5C61-4488-AD2F-D6F772C10157}" srcOrd="2" destOrd="0" parTransId="{68B20A9A-309E-4FE0-AE00-A6DF7A765AFD}" sibTransId="{6D0E6663-A5D6-41FB-BC44-6EA4C50F364A}"/>
    <dgm:cxn modelId="{942E4A1A-B859-41E1-A65A-072FE93162EF}" type="presParOf" srcId="{2AEF5431-DA26-4449-BE5E-58391598683E}" destId="{E43D12A8-9220-4F93-BBBD-757BF2B670A9}" srcOrd="0" destOrd="0" presId="urn:microsoft.com/office/officeart/2005/8/layout/vList5"/>
    <dgm:cxn modelId="{AB1B9A7E-38F5-443F-9AE8-6AF6F0D39C56}" type="presParOf" srcId="{E43D12A8-9220-4F93-BBBD-757BF2B670A9}" destId="{1C479F0B-C610-4C88-A4DB-38C5FDE7CD99}" srcOrd="0" destOrd="0" presId="urn:microsoft.com/office/officeart/2005/8/layout/vList5"/>
    <dgm:cxn modelId="{6F0714FC-2D44-4EC0-AA32-329B27DE146A}" type="presParOf" srcId="{E43D12A8-9220-4F93-BBBD-757BF2B670A9}" destId="{9B5FC0C6-3F7C-4FEA-88D9-1EFDA05882FF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5.xml><?xml version="1.0" encoding="utf-8"?>
<dgm:dataModel xmlns:dgm="http://schemas.openxmlformats.org/drawingml/2006/diagram" xmlns:a="http://schemas.openxmlformats.org/drawingml/2006/main">
  <dgm:ptLst>
    <dgm:pt modelId="{CD26F62B-22A9-497B-AFBA-C7EC9DBAB4F6}" type="doc">
      <dgm:prSet loTypeId="urn:microsoft.com/office/officeart/2005/8/layout/lProcess1" loCatId="process" qsTypeId="urn:microsoft.com/office/officeart/2005/8/quickstyle/simple2" qsCatId="simple" csTypeId="urn:microsoft.com/office/officeart/2005/8/colors/accent1_4" csCatId="accent1" phldr="1"/>
      <dgm:spPr/>
      <dgm:t>
        <a:bodyPr/>
        <a:lstStyle/>
        <a:p>
          <a:endParaRPr lang="pt-BR"/>
        </a:p>
      </dgm:t>
    </dgm:pt>
    <dgm:pt modelId="{A3BBE326-1ACD-45FC-B2B6-96F8507E3681}">
      <dgm:prSet phldrT="[Texto]" custT="1"/>
      <dgm:spPr>
        <a:solidFill>
          <a:schemeClr val="accent3">
            <a:lumMod val="75000"/>
          </a:schemeClr>
        </a:solidFill>
      </dgm:spPr>
      <dgm:t>
        <a:bodyPr/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pt-BR" sz="2000" b="1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Novo investimento ou serviço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pt-BR" sz="1400" b="0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(não previsto e solicitado pela ANAC)</a:t>
          </a:r>
        </a:p>
      </dgm:t>
    </dgm:pt>
    <dgm:pt modelId="{38B734E4-7942-48C5-9E85-16001B0E2C71}" type="sibTrans" cxnId="{A706D507-B7A6-4C4A-9331-126227F6C043}">
      <dgm:prSet/>
      <dgm:spPr/>
      <dgm:t>
        <a:bodyPr/>
        <a:lstStyle/>
        <a:p>
          <a:endParaRPr lang="pt-BR"/>
        </a:p>
      </dgm:t>
    </dgm:pt>
    <dgm:pt modelId="{D039B0C1-A461-47DA-BA15-10C8A5F1EC58}" type="parTrans" cxnId="{A706D507-B7A6-4C4A-9331-126227F6C043}">
      <dgm:prSet/>
      <dgm:spPr/>
      <dgm:t>
        <a:bodyPr/>
        <a:lstStyle/>
        <a:p>
          <a:endParaRPr lang="pt-BR"/>
        </a:p>
      </dgm:t>
    </dgm:pt>
    <dgm:pt modelId="{39B78235-6B49-481E-8A69-A43D605BE618}" type="pres">
      <dgm:prSet presAssocID="{CD26F62B-22A9-497B-AFBA-C7EC9DBAB4F6}" presName="Name0" presStyleCnt="0">
        <dgm:presLayoutVars>
          <dgm:dir/>
          <dgm:animLvl val="lvl"/>
          <dgm:resizeHandles val="exact"/>
        </dgm:presLayoutVars>
      </dgm:prSet>
      <dgm:spPr/>
    </dgm:pt>
    <dgm:pt modelId="{BFB50B95-6C9B-4A8A-BCB8-A290DDEC30FF}" type="pres">
      <dgm:prSet presAssocID="{A3BBE326-1ACD-45FC-B2B6-96F8507E3681}" presName="vertFlow" presStyleCnt="0"/>
      <dgm:spPr/>
    </dgm:pt>
    <dgm:pt modelId="{73025F19-DEDA-41B3-B79C-D4BF8DC81D3C}" type="pres">
      <dgm:prSet presAssocID="{A3BBE326-1ACD-45FC-B2B6-96F8507E3681}" presName="header" presStyleLbl="node1" presStyleIdx="0" presStyleCnt="1" custAng="10800000" custFlipVert="1" custScaleX="147941" custScaleY="100104" custLinFactNeighborX="-67" custLinFactNeighborY="2247"/>
      <dgm:spPr/>
    </dgm:pt>
  </dgm:ptLst>
  <dgm:cxnLst>
    <dgm:cxn modelId="{A706D507-B7A6-4C4A-9331-126227F6C043}" srcId="{CD26F62B-22A9-497B-AFBA-C7EC9DBAB4F6}" destId="{A3BBE326-1ACD-45FC-B2B6-96F8507E3681}" srcOrd="0" destOrd="0" parTransId="{D039B0C1-A461-47DA-BA15-10C8A5F1EC58}" sibTransId="{38B734E4-7942-48C5-9E85-16001B0E2C71}"/>
    <dgm:cxn modelId="{42927A6F-E278-4BB4-8A80-A11435A51BF1}" type="presOf" srcId="{A3BBE326-1ACD-45FC-B2B6-96F8507E3681}" destId="{73025F19-DEDA-41B3-B79C-D4BF8DC81D3C}" srcOrd="0" destOrd="0" presId="urn:microsoft.com/office/officeart/2005/8/layout/lProcess1"/>
    <dgm:cxn modelId="{44668E80-43FA-4034-B1D0-C4F2C2687711}" type="presOf" srcId="{CD26F62B-22A9-497B-AFBA-C7EC9DBAB4F6}" destId="{39B78235-6B49-481E-8A69-A43D605BE618}" srcOrd="0" destOrd="0" presId="urn:microsoft.com/office/officeart/2005/8/layout/lProcess1"/>
    <dgm:cxn modelId="{41F6FE91-EF8C-4C7C-BDE3-4B92C0D01CDF}" type="presParOf" srcId="{39B78235-6B49-481E-8A69-A43D605BE618}" destId="{BFB50B95-6C9B-4A8A-BCB8-A290DDEC30FF}" srcOrd="0" destOrd="0" presId="urn:microsoft.com/office/officeart/2005/8/layout/lProcess1"/>
    <dgm:cxn modelId="{23E91C97-90AA-4776-88AF-B15EBA17BB6A}" type="presParOf" srcId="{BFB50B95-6C9B-4A8A-BCB8-A290DDEC30FF}" destId="{73025F19-DEDA-41B3-B79C-D4BF8DC81D3C}" srcOrd="0" destOrd="0" presId="urn:microsoft.com/office/officeart/2005/8/layout/l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6.xml><?xml version="1.0" encoding="utf-8"?>
<dgm:dataModel xmlns:dgm="http://schemas.openxmlformats.org/drawingml/2006/diagram" xmlns:a="http://schemas.openxmlformats.org/drawingml/2006/main">
  <dgm:ptLst>
    <dgm:pt modelId="{CD26F62B-22A9-497B-AFBA-C7EC9DBAB4F6}" type="doc">
      <dgm:prSet loTypeId="urn:microsoft.com/office/officeart/2005/8/layout/lProcess1" loCatId="process" qsTypeId="urn:microsoft.com/office/officeart/2005/8/quickstyle/simple2" qsCatId="simple" csTypeId="urn:microsoft.com/office/officeart/2005/8/colors/accent1_4" csCatId="accent1" phldr="1"/>
      <dgm:spPr/>
      <dgm:t>
        <a:bodyPr/>
        <a:lstStyle/>
        <a:p>
          <a:endParaRPr lang="pt-BR"/>
        </a:p>
      </dgm:t>
    </dgm:pt>
    <dgm:pt modelId="{A3BBE326-1ACD-45FC-B2B6-96F8507E3681}">
      <dgm:prSet phldrT="[Texto]" custT="1"/>
      <dgm:spPr>
        <a:solidFill>
          <a:schemeClr val="accent3">
            <a:lumMod val="75000"/>
          </a:schemeClr>
        </a:solidFill>
      </dgm:spPr>
      <dgm:t>
        <a:bodyPr/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pt-BR" sz="2000" b="1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Projeto básico e executivo </a:t>
          </a:r>
        </a:p>
        <a:p>
          <a:pPr marL="0"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b="0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(precificação e impactos)</a:t>
          </a:r>
        </a:p>
      </dgm:t>
    </dgm:pt>
    <dgm:pt modelId="{38B734E4-7942-48C5-9E85-16001B0E2C71}" type="sibTrans" cxnId="{A706D507-B7A6-4C4A-9331-126227F6C043}">
      <dgm:prSet/>
      <dgm:spPr/>
      <dgm:t>
        <a:bodyPr/>
        <a:lstStyle/>
        <a:p>
          <a:endParaRPr lang="pt-BR"/>
        </a:p>
      </dgm:t>
    </dgm:pt>
    <dgm:pt modelId="{D039B0C1-A461-47DA-BA15-10C8A5F1EC58}" type="parTrans" cxnId="{A706D507-B7A6-4C4A-9331-126227F6C043}">
      <dgm:prSet/>
      <dgm:spPr/>
      <dgm:t>
        <a:bodyPr/>
        <a:lstStyle/>
        <a:p>
          <a:endParaRPr lang="pt-BR"/>
        </a:p>
      </dgm:t>
    </dgm:pt>
    <dgm:pt modelId="{39B78235-6B49-481E-8A69-A43D605BE618}" type="pres">
      <dgm:prSet presAssocID="{CD26F62B-22A9-497B-AFBA-C7EC9DBAB4F6}" presName="Name0" presStyleCnt="0">
        <dgm:presLayoutVars>
          <dgm:dir/>
          <dgm:animLvl val="lvl"/>
          <dgm:resizeHandles val="exact"/>
        </dgm:presLayoutVars>
      </dgm:prSet>
      <dgm:spPr/>
    </dgm:pt>
    <dgm:pt modelId="{BFB50B95-6C9B-4A8A-BCB8-A290DDEC30FF}" type="pres">
      <dgm:prSet presAssocID="{A3BBE326-1ACD-45FC-B2B6-96F8507E3681}" presName="vertFlow" presStyleCnt="0"/>
      <dgm:spPr/>
    </dgm:pt>
    <dgm:pt modelId="{73025F19-DEDA-41B3-B79C-D4BF8DC81D3C}" type="pres">
      <dgm:prSet presAssocID="{A3BBE326-1ACD-45FC-B2B6-96F8507E3681}" presName="header" presStyleLbl="node1" presStyleIdx="0" presStyleCnt="1" custAng="10800000" custFlipVert="1" custScaleX="148468" custScaleY="143417" custLinFactNeighborX="-104" custLinFactNeighborY="8575"/>
      <dgm:spPr/>
    </dgm:pt>
  </dgm:ptLst>
  <dgm:cxnLst>
    <dgm:cxn modelId="{A706D507-B7A6-4C4A-9331-126227F6C043}" srcId="{CD26F62B-22A9-497B-AFBA-C7EC9DBAB4F6}" destId="{A3BBE326-1ACD-45FC-B2B6-96F8507E3681}" srcOrd="0" destOrd="0" parTransId="{D039B0C1-A461-47DA-BA15-10C8A5F1EC58}" sibTransId="{38B734E4-7942-48C5-9E85-16001B0E2C71}"/>
    <dgm:cxn modelId="{42927A6F-E278-4BB4-8A80-A11435A51BF1}" type="presOf" srcId="{A3BBE326-1ACD-45FC-B2B6-96F8507E3681}" destId="{73025F19-DEDA-41B3-B79C-D4BF8DC81D3C}" srcOrd="0" destOrd="0" presId="urn:microsoft.com/office/officeart/2005/8/layout/lProcess1"/>
    <dgm:cxn modelId="{44668E80-43FA-4034-B1D0-C4F2C2687711}" type="presOf" srcId="{CD26F62B-22A9-497B-AFBA-C7EC9DBAB4F6}" destId="{39B78235-6B49-481E-8A69-A43D605BE618}" srcOrd="0" destOrd="0" presId="urn:microsoft.com/office/officeart/2005/8/layout/lProcess1"/>
    <dgm:cxn modelId="{41F6FE91-EF8C-4C7C-BDE3-4B92C0D01CDF}" type="presParOf" srcId="{39B78235-6B49-481E-8A69-A43D605BE618}" destId="{BFB50B95-6C9B-4A8A-BCB8-A290DDEC30FF}" srcOrd="0" destOrd="0" presId="urn:microsoft.com/office/officeart/2005/8/layout/lProcess1"/>
    <dgm:cxn modelId="{23E91C97-90AA-4776-88AF-B15EBA17BB6A}" type="presParOf" srcId="{BFB50B95-6C9B-4A8A-BCB8-A290DDEC30FF}" destId="{73025F19-DEDA-41B3-B79C-D4BF8DC81D3C}" srcOrd="0" destOrd="0" presId="urn:microsoft.com/office/officeart/2005/8/layout/lProcess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7.xml><?xml version="1.0" encoding="utf-8"?>
<dgm:dataModel xmlns:dgm="http://schemas.openxmlformats.org/drawingml/2006/diagram" xmlns:a="http://schemas.openxmlformats.org/drawingml/2006/main">
  <dgm:ptLst>
    <dgm:pt modelId="{CD26F62B-22A9-497B-AFBA-C7EC9DBAB4F6}" type="doc">
      <dgm:prSet loTypeId="urn:microsoft.com/office/officeart/2005/8/layout/lProcess1" loCatId="process" qsTypeId="urn:microsoft.com/office/officeart/2005/8/quickstyle/simple2" qsCatId="simple" csTypeId="urn:microsoft.com/office/officeart/2005/8/colors/accent1_4" csCatId="accent1" phldr="1"/>
      <dgm:spPr/>
      <dgm:t>
        <a:bodyPr/>
        <a:lstStyle/>
        <a:p>
          <a:endParaRPr lang="pt-BR"/>
        </a:p>
      </dgm:t>
    </dgm:pt>
    <dgm:pt modelId="{A3BBE326-1ACD-45FC-B2B6-96F8507E3681}">
      <dgm:prSet phldrT="[Texto]" custT="1"/>
      <dgm:spPr>
        <a:solidFill>
          <a:schemeClr val="accent3">
            <a:lumMod val="75000"/>
          </a:schemeClr>
        </a:solidFill>
      </dgm:spPr>
      <dgm:t>
        <a:bodyPr/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pt-BR" sz="2000" b="1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Análise e aprovação pela ANAC</a:t>
          </a:r>
        </a:p>
        <a:p>
          <a:pPr marL="0"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b="0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(45 dias)</a:t>
          </a:r>
        </a:p>
      </dgm:t>
    </dgm:pt>
    <dgm:pt modelId="{38B734E4-7942-48C5-9E85-16001B0E2C71}" type="sibTrans" cxnId="{A706D507-B7A6-4C4A-9331-126227F6C043}">
      <dgm:prSet/>
      <dgm:spPr/>
      <dgm:t>
        <a:bodyPr/>
        <a:lstStyle/>
        <a:p>
          <a:endParaRPr lang="pt-BR"/>
        </a:p>
      </dgm:t>
    </dgm:pt>
    <dgm:pt modelId="{D039B0C1-A461-47DA-BA15-10C8A5F1EC58}" type="parTrans" cxnId="{A706D507-B7A6-4C4A-9331-126227F6C043}">
      <dgm:prSet/>
      <dgm:spPr/>
      <dgm:t>
        <a:bodyPr/>
        <a:lstStyle/>
        <a:p>
          <a:endParaRPr lang="pt-BR"/>
        </a:p>
      </dgm:t>
    </dgm:pt>
    <dgm:pt modelId="{39B78235-6B49-481E-8A69-A43D605BE618}" type="pres">
      <dgm:prSet presAssocID="{CD26F62B-22A9-497B-AFBA-C7EC9DBAB4F6}" presName="Name0" presStyleCnt="0">
        <dgm:presLayoutVars>
          <dgm:dir/>
          <dgm:animLvl val="lvl"/>
          <dgm:resizeHandles val="exact"/>
        </dgm:presLayoutVars>
      </dgm:prSet>
      <dgm:spPr/>
    </dgm:pt>
    <dgm:pt modelId="{BFB50B95-6C9B-4A8A-BCB8-A290DDEC30FF}" type="pres">
      <dgm:prSet presAssocID="{A3BBE326-1ACD-45FC-B2B6-96F8507E3681}" presName="vertFlow" presStyleCnt="0"/>
      <dgm:spPr/>
    </dgm:pt>
    <dgm:pt modelId="{73025F19-DEDA-41B3-B79C-D4BF8DC81D3C}" type="pres">
      <dgm:prSet presAssocID="{A3BBE326-1ACD-45FC-B2B6-96F8507E3681}" presName="header" presStyleLbl="node1" presStyleIdx="0" presStyleCnt="1" custAng="10800000" custFlipVert="1" custScaleX="139109" custScaleY="100000" custLinFactNeighborX="-6664" custLinFactNeighborY="11035"/>
      <dgm:spPr/>
    </dgm:pt>
  </dgm:ptLst>
  <dgm:cxnLst>
    <dgm:cxn modelId="{A706D507-B7A6-4C4A-9331-126227F6C043}" srcId="{CD26F62B-22A9-497B-AFBA-C7EC9DBAB4F6}" destId="{A3BBE326-1ACD-45FC-B2B6-96F8507E3681}" srcOrd="0" destOrd="0" parTransId="{D039B0C1-A461-47DA-BA15-10C8A5F1EC58}" sibTransId="{38B734E4-7942-48C5-9E85-16001B0E2C71}"/>
    <dgm:cxn modelId="{42927A6F-E278-4BB4-8A80-A11435A51BF1}" type="presOf" srcId="{A3BBE326-1ACD-45FC-B2B6-96F8507E3681}" destId="{73025F19-DEDA-41B3-B79C-D4BF8DC81D3C}" srcOrd="0" destOrd="0" presId="urn:microsoft.com/office/officeart/2005/8/layout/lProcess1"/>
    <dgm:cxn modelId="{44668E80-43FA-4034-B1D0-C4F2C2687711}" type="presOf" srcId="{CD26F62B-22A9-497B-AFBA-C7EC9DBAB4F6}" destId="{39B78235-6B49-481E-8A69-A43D605BE618}" srcOrd="0" destOrd="0" presId="urn:microsoft.com/office/officeart/2005/8/layout/lProcess1"/>
    <dgm:cxn modelId="{41F6FE91-EF8C-4C7C-BDE3-4B92C0D01CDF}" type="presParOf" srcId="{39B78235-6B49-481E-8A69-A43D605BE618}" destId="{BFB50B95-6C9B-4A8A-BCB8-A290DDEC30FF}" srcOrd="0" destOrd="0" presId="urn:microsoft.com/office/officeart/2005/8/layout/lProcess1"/>
    <dgm:cxn modelId="{23E91C97-90AA-4776-88AF-B15EBA17BB6A}" type="presParOf" srcId="{BFB50B95-6C9B-4A8A-BCB8-A290DDEC30FF}" destId="{73025F19-DEDA-41B3-B79C-D4BF8DC81D3C}" srcOrd="0" destOrd="0" presId="urn:microsoft.com/office/officeart/2005/8/layout/lProcess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38.xml><?xml version="1.0" encoding="utf-8"?>
<dgm:dataModel xmlns:dgm="http://schemas.openxmlformats.org/drawingml/2006/diagram" xmlns:a="http://schemas.openxmlformats.org/drawingml/2006/main">
  <dgm:ptLst>
    <dgm:pt modelId="{78E24417-5166-417F-88CA-E1EAA1C08EDF}" type="doc">
      <dgm:prSet loTypeId="urn:microsoft.com/office/officeart/2005/8/layout/vList5" loCatId="list" qsTypeId="urn:microsoft.com/office/officeart/2005/8/quickstyle/simple2" qsCatId="simple" csTypeId="urn:microsoft.com/office/officeart/2005/8/colors/accent1_3" csCatId="accent1" phldr="1"/>
      <dgm:spPr/>
      <dgm:t>
        <a:bodyPr/>
        <a:lstStyle/>
        <a:p>
          <a:endParaRPr lang="pt-BR"/>
        </a:p>
      </dgm:t>
    </dgm:pt>
    <dgm:pt modelId="{B51211AD-4E37-4698-B5BE-CDDA3F060FAC}">
      <dgm:prSet phldrT="[Texto]" custT="1"/>
      <dgm:spPr/>
      <dgm:t>
        <a:bodyPr/>
        <a:lstStyle/>
        <a:p>
          <a:pPr marL="0" indent="0" algn="just">
            <a:spcAft>
              <a:spcPts val="1200"/>
            </a:spcAft>
            <a:buNone/>
          </a:pPr>
          <a:r>
            <a:rPr lang="pt-BR" altLang="pt-BR" sz="1200" dirty="0">
              <a:solidFill>
                <a:schemeClr val="tx1"/>
              </a:solidFill>
              <a:latin typeface="+mn-lt"/>
            </a:rPr>
            <a:t>Art. 12. Na hipótese de novos investimentos ou serviços solicitados pela ANAC e não previstos no Contrato, a ANAC poderá requerer à Concessionária, previamente à instauração do processo de Revisão Extraordinária, </a:t>
          </a:r>
          <a:r>
            <a:rPr lang="pt-BR" altLang="pt-BR" sz="1200" b="1" dirty="0">
              <a:solidFill>
                <a:schemeClr val="tx1"/>
              </a:solidFill>
              <a:latin typeface="+mn-lt"/>
            </a:rPr>
            <a:t>a elaboração do projeto básico e executivo das obras e serviços</a:t>
          </a:r>
          <a:r>
            <a:rPr lang="pt-BR" altLang="pt-BR" sz="1200" dirty="0">
              <a:solidFill>
                <a:schemeClr val="tx1"/>
              </a:solidFill>
              <a:latin typeface="+mn-lt"/>
            </a:rPr>
            <a:t>, considerando que:</a:t>
          </a:r>
          <a:endParaRPr lang="pt-BR" sz="1200" b="0" i="1" dirty="0">
            <a:solidFill>
              <a:schemeClr val="tx1">
                <a:lumMod val="50000"/>
                <a:lumOff val="50000"/>
              </a:schemeClr>
            </a:solidFill>
            <a:latin typeface="+mn-lt"/>
          </a:endParaRPr>
        </a:p>
      </dgm:t>
    </dgm:pt>
    <dgm:pt modelId="{BBA57CAF-1BF1-44FC-B50F-C9213B693484}" type="parTrans" cxnId="{B7294B36-69F4-4A11-8CC0-E17042871689}">
      <dgm:prSet/>
      <dgm:spPr/>
      <dgm:t>
        <a:bodyPr/>
        <a:lstStyle/>
        <a:p>
          <a:endParaRPr lang="pt-BR"/>
        </a:p>
      </dgm:t>
    </dgm:pt>
    <dgm:pt modelId="{5F9E3690-2B35-4722-9B8E-7EE9468AA6A5}" type="sibTrans" cxnId="{B7294B36-69F4-4A11-8CC0-E17042871689}">
      <dgm:prSet/>
      <dgm:spPr/>
      <dgm:t>
        <a:bodyPr/>
        <a:lstStyle/>
        <a:p>
          <a:endParaRPr lang="pt-BR"/>
        </a:p>
      </dgm:t>
    </dgm:pt>
    <dgm:pt modelId="{AFA14602-C2C3-4993-B464-C0439617D1CE}">
      <dgm:prSet phldrT="[Texto]" custT="1"/>
      <dgm:spPr/>
      <dgm:t>
        <a:bodyPr/>
        <a:lstStyle/>
        <a:p>
          <a:r>
            <a:rPr lang="pt-BR" sz="1800" b="1" dirty="0">
              <a:latin typeface="+mn-lt"/>
            </a:rPr>
            <a:t>Proposta de redação</a:t>
          </a:r>
        </a:p>
      </dgm:t>
    </dgm:pt>
    <dgm:pt modelId="{42A43094-7D35-47B1-984C-BE7DEA83E87A}" type="sibTrans" cxnId="{1F297C19-993D-4A4E-BF0E-7C030993873D}">
      <dgm:prSet/>
      <dgm:spPr/>
      <dgm:t>
        <a:bodyPr/>
        <a:lstStyle/>
        <a:p>
          <a:endParaRPr lang="pt-BR"/>
        </a:p>
      </dgm:t>
    </dgm:pt>
    <dgm:pt modelId="{4F81E50F-F92B-4D22-A8DE-920261E3C033}" type="parTrans" cxnId="{1F297C19-993D-4A4E-BF0E-7C030993873D}">
      <dgm:prSet/>
      <dgm:spPr/>
      <dgm:t>
        <a:bodyPr/>
        <a:lstStyle/>
        <a:p>
          <a:endParaRPr lang="pt-BR"/>
        </a:p>
      </dgm:t>
    </dgm:pt>
    <dgm:pt modelId="{C2393854-62AB-494F-ACB6-B4EF3F2D41FF}">
      <dgm:prSet custT="1"/>
      <dgm:spPr/>
      <dgm:t>
        <a:bodyPr/>
        <a:lstStyle/>
        <a:p>
          <a:pPr marL="114300" indent="0" algn="just">
            <a:spcAft>
              <a:spcPts val="1200"/>
            </a:spcAft>
            <a:buNone/>
          </a:pPr>
          <a:r>
            <a:rPr lang="pt-BR" altLang="pt-BR" sz="1200" dirty="0">
              <a:solidFill>
                <a:schemeClr val="tx1"/>
              </a:solidFill>
              <a:latin typeface="+mn-lt"/>
            </a:rPr>
            <a:t>I – os referidos projetos deverão conter todos os elementos necessários à </a:t>
          </a:r>
          <a:r>
            <a:rPr lang="pt-BR" altLang="pt-BR" sz="1200" b="1" dirty="0">
              <a:solidFill>
                <a:schemeClr val="tx1"/>
              </a:solidFill>
              <a:latin typeface="+mn-lt"/>
            </a:rPr>
            <a:t>precificação do investimento e às estimativas do impacto da obra sobre as receitas da Concessionária</a:t>
          </a:r>
          <a:r>
            <a:rPr lang="pt-BR" altLang="pt-BR" sz="1200" dirty="0">
              <a:solidFill>
                <a:schemeClr val="tx1"/>
              </a:solidFill>
              <a:latin typeface="+mn-lt"/>
            </a:rPr>
            <a:t>, segundo as melhores práticas e critérios de mercado, tudo de acordo com as normas técnicas e diretivas eventualmente estabelecidas pela ANAC sobre o assunto;</a:t>
          </a:r>
        </a:p>
      </dgm:t>
    </dgm:pt>
    <dgm:pt modelId="{93BC4062-00BC-4787-9679-A0C521E5B03C}" type="parTrans" cxnId="{1FE201C6-0351-4B86-90AD-B7F91B8C9C4B}">
      <dgm:prSet/>
      <dgm:spPr/>
      <dgm:t>
        <a:bodyPr/>
        <a:lstStyle/>
        <a:p>
          <a:endParaRPr lang="pt-BR"/>
        </a:p>
      </dgm:t>
    </dgm:pt>
    <dgm:pt modelId="{EBB8FFF6-C98E-4DFB-A370-BFCD3E083446}" type="sibTrans" cxnId="{1FE201C6-0351-4B86-90AD-B7F91B8C9C4B}">
      <dgm:prSet/>
      <dgm:spPr/>
      <dgm:t>
        <a:bodyPr/>
        <a:lstStyle/>
        <a:p>
          <a:endParaRPr lang="pt-BR"/>
        </a:p>
      </dgm:t>
    </dgm:pt>
    <dgm:pt modelId="{0B956457-AE86-441D-A94D-0846D19DB564}">
      <dgm:prSet custT="1"/>
      <dgm:spPr/>
      <dgm:t>
        <a:bodyPr/>
        <a:lstStyle/>
        <a:p>
          <a:pPr marL="114300" indent="0" algn="just">
            <a:spcAft>
              <a:spcPts val="1200"/>
            </a:spcAft>
            <a:buNone/>
          </a:pPr>
          <a:r>
            <a:rPr lang="pt-BR" altLang="pt-BR" sz="1200" dirty="0">
              <a:solidFill>
                <a:schemeClr val="tx1"/>
              </a:solidFill>
              <a:latin typeface="+mn-lt"/>
            </a:rPr>
            <a:t>II – a ANAC estabelecerá o valor limite do custo dos projetos e estudos a serem considerados para efeito de recomposição do equilíbrio econômico-financeiro;</a:t>
          </a:r>
        </a:p>
      </dgm:t>
    </dgm:pt>
    <dgm:pt modelId="{95AA5F09-43EE-4935-A4EE-E2E8F32687A4}" type="parTrans" cxnId="{52FCBCE2-01F5-4C7D-99FB-E013CC550763}">
      <dgm:prSet/>
      <dgm:spPr/>
      <dgm:t>
        <a:bodyPr/>
        <a:lstStyle/>
        <a:p>
          <a:endParaRPr lang="pt-BR"/>
        </a:p>
      </dgm:t>
    </dgm:pt>
    <dgm:pt modelId="{46774B29-BA64-4F97-AAF0-83BD33D35418}" type="sibTrans" cxnId="{52FCBCE2-01F5-4C7D-99FB-E013CC550763}">
      <dgm:prSet/>
      <dgm:spPr/>
      <dgm:t>
        <a:bodyPr/>
        <a:lstStyle/>
        <a:p>
          <a:endParaRPr lang="pt-BR"/>
        </a:p>
      </dgm:t>
    </dgm:pt>
    <dgm:pt modelId="{A502E690-D0DA-4331-92BF-26CBB3C9AA05}">
      <dgm:prSet custT="1"/>
      <dgm:spPr/>
      <dgm:t>
        <a:bodyPr/>
        <a:lstStyle/>
        <a:p>
          <a:pPr marL="114300" indent="0" algn="just">
            <a:spcAft>
              <a:spcPts val="1200"/>
            </a:spcAft>
            <a:buNone/>
          </a:pPr>
          <a:r>
            <a:rPr lang="pt-BR" altLang="pt-BR" sz="1200" dirty="0">
              <a:solidFill>
                <a:schemeClr val="tx1"/>
              </a:solidFill>
              <a:latin typeface="+mn-lt"/>
            </a:rPr>
            <a:t>III - no prazo máximo de </a:t>
          </a:r>
          <a:r>
            <a:rPr lang="pt-BR" altLang="pt-BR" sz="1200" b="1" dirty="0">
              <a:solidFill>
                <a:schemeClr val="tx1"/>
              </a:solidFill>
              <a:latin typeface="+mn-lt"/>
            </a:rPr>
            <a:t>45 (quarenta e cinco) dias </a:t>
          </a:r>
          <a:r>
            <a:rPr lang="pt-BR" altLang="pt-BR" sz="1200" dirty="0">
              <a:solidFill>
                <a:schemeClr val="tx1"/>
              </a:solidFill>
              <a:latin typeface="+mn-lt"/>
            </a:rPr>
            <a:t>a </a:t>
          </a:r>
          <a:r>
            <a:rPr lang="pt-BR" altLang="pt-BR" sz="1200" b="1" dirty="0">
              <a:solidFill>
                <a:schemeClr val="tx1"/>
              </a:solidFill>
              <a:latin typeface="+mn-lt"/>
            </a:rPr>
            <a:t>ANAC fará a análise e aprovação do Projeto Básico</a:t>
          </a:r>
          <a:r>
            <a:rPr lang="pt-BR" altLang="pt-BR" sz="1200" dirty="0">
              <a:solidFill>
                <a:schemeClr val="tx1"/>
              </a:solidFill>
              <a:latin typeface="+mn-lt"/>
            </a:rPr>
            <a:t>, podendo emitir autorizações parciais de construção durante o período de análise. A aprovação do Projeto Básico pela ANAC não exclui a necessidade de sua alteração posterior para eventual adequação aos requisitos constantes no Contrato, legislação e regulamentação do setor; </a:t>
          </a:r>
        </a:p>
      </dgm:t>
    </dgm:pt>
    <dgm:pt modelId="{648C007A-CD24-4D49-8824-C2F030B49037}" type="parTrans" cxnId="{7F9AC2D2-1E97-48B3-94D4-1E727966FC74}">
      <dgm:prSet/>
      <dgm:spPr/>
      <dgm:t>
        <a:bodyPr/>
        <a:lstStyle/>
        <a:p>
          <a:endParaRPr lang="pt-BR"/>
        </a:p>
      </dgm:t>
    </dgm:pt>
    <dgm:pt modelId="{0F3F08A7-32D7-41D3-A628-1DC87ED16326}" type="sibTrans" cxnId="{7F9AC2D2-1E97-48B3-94D4-1E727966FC74}">
      <dgm:prSet/>
      <dgm:spPr/>
      <dgm:t>
        <a:bodyPr/>
        <a:lstStyle/>
        <a:p>
          <a:endParaRPr lang="pt-BR"/>
        </a:p>
      </dgm:t>
    </dgm:pt>
    <dgm:pt modelId="{1B77DD69-29C0-4D67-929B-FA68AA83D074}">
      <dgm:prSet custT="1"/>
      <dgm:spPr/>
      <dgm:t>
        <a:bodyPr/>
        <a:lstStyle/>
        <a:p>
          <a:pPr marL="114300" indent="0" algn="just">
            <a:spcAft>
              <a:spcPts val="1200"/>
            </a:spcAft>
            <a:buNone/>
          </a:pPr>
          <a:r>
            <a:rPr lang="pt-BR" altLang="pt-BR" sz="1200" dirty="0">
              <a:solidFill>
                <a:schemeClr val="tx1"/>
              </a:solidFill>
              <a:latin typeface="+mn-lt"/>
            </a:rPr>
            <a:t>IV - a Concessionária deverá submeter à ANAC todas as alterações do Projeto Básico, posteriores à sua aprovação inicial, para fins de análise e nova aprovação desta Agência; </a:t>
          </a:r>
        </a:p>
      </dgm:t>
    </dgm:pt>
    <dgm:pt modelId="{800E99C3-945B-4A03-AEB1-98E8A14A873A}" type="parTrans" cxnId="{E90CC926-0A79-493E-8EDC-9182FE71CD1B}">
      <dgm:prSet/>
      <dgm:spPr/>
      <dgm:t>
        <a:bodyPr/>
        <a:lstStyle/>
        <a:p>
          <a:endParaRPr lang="pt-BR"/>
        </a:p>
      </dgm:t>
    </dgm:pt>
    <dgm:pt modelId="{8D341D8E-09E9-4720-AB8A-9E0D619F53DA}" type="sibTrans" cxnId="{E90CC926-0A79-493E-8EDC-9182FE71CD1B}">
      <dgm:prSet/>
      <dgm:spPr/>
      <dgm:t>
        <a:bodyPr/>
        <a:lstStyle/>
        <a:p>
          <a:endParaRPr lang="pt-BR"/>
        </a:p>
      </dgm:t>
    </dgm:pt>
    <dgm:pt modelId="{BB83E13D-9117-4446-B911-D838145B048E}">
      <dgm:prSet custT="1"/>
      <dgm:spPr/>
      <dgm:t>
        <a:bodyPr/>
        <a:lstStyle/>
        <a:p>
          <a:pPr marL="114300" indent="0" algn="just">
            <a:spcAft>
              <a:spcPts val="1200"/>
            </a:spcAft>
            <a:buNone/>
          </a:pPr>
          <a:r>
            <a:rPr lang="pt-BR" altLang="pt-BR" sz="1200" b="0" dirty="0">
              <a:solidFill>
                <a:schemeClr val="tx1"/>
              </a:solidFill>
              <a:latin typeface="+mn-lt"/>
            </a:rPr>
            <a:t>V - caso o Projeto Básico não seja aprovado, a Concessionária terá o prazo máximo a ser fixado pela ANAC para reapresentá-lo, com as adequações necessárias.</a:t>
          </a:r>
        </a:p>
      </dgm:t>
    </dgm:pt>
    <dgm:pt modelId="{EA611DDF-2291-4D8B-BE6E-170AC8D0C48F}" type="parTrans" cxnId="{0F5BE0FF-C02F-49F3-84C2-B35D57BDFF7F}">
      <dgm:prSet/>
      <dgm:spPr/>
      <dgm:t>
        <a:bodyPr/>
        <a:lstStyle/>
        <a:p>
          <a:endParaRPr lang="pt-BR"/>
        </a:p>
      </dgm:t>
    </dgm:pt>
    <dgm:pt modelId="{EE96FEDA-E2BC-4D01-A6ED-6A5CF616020B}" type="sibTrans" cxnId="{0F5BE0FF-C02F-49F3-84C2-B35D57BDFF7F}">
      <dgm:prSet/>
      <dgm:spPr/>
      <dgm:t>
        <a:bodyPr/>
        <a:lstStyle/>
        <a:p>
          <a:endParaRPr lang="pt-BR"/>
        </a:p>
      </dgm:t>
    </dgm:pt>
    <dgm:pt modelId="{2AEF5431-DA26-4449-BE5E-58391598683E}" type="pres">
      <dgm:prSet presAssocID="{78E24417-5166-417F-88CA-E1EAA1C08EDF}" presName="Name0" presStyleCnt="0">
        <dgm:presLayoutVars>
          <dgm:dir/>
          <dgm:animLvl val="lvl"/>
          <dgm:resizeHandles val="exact"/>
        </dgm:presLayoutVars>
      </dgm:prSet>
      <dgm:spPr/>
    </dgm:pt>
    <dgm:pt modelId="{E43D12A8-9220-4F93-BBBD-757BF2B670A9}" type="pres">
      <dgm:prSet presAssocID="{AFA14602-C2C3-4993-B464-C0439617D1CE}" presName="linNode" presStyleCnt="0"/>
      <dgm:spPr/>
    </dgm:pt>
    <dgm:pt modelId="{1C479F0B-C610-4C88-A4DB-38C5FDE7CD99}" type="pres">
      <dgm:prSet presAssocID="{AFA14602-C2C3-4993-B464-C0439617D1CE}" presName="parentText" presStyleLbl="node1" presStyleIdx="0" presStyleCnt="1" custScaleX="54905">
        <dgm:presLayoutVars>
          <dgm:chMax val="1"/>
          <dgm:bulletEnabled val="1"/>
        </dgm:presLayoutVars>
      </dgm:prSet>
      <dgm:spPr/>
    </dgm:pt>
    <dgm:pt modelId="{9B5FC0C6-3F7C-4FEA-88D9-1EFDA05882FF}" type="pres">
      <dgm:prSet presAssocID="{AFA14602-C2C3-4993-B464-C0439617D1CE}" presName="descendantText" presStyleLbl="alignAccFollowNode1" presStyleIdx="0" presStyleCnt="1" custScaleX="123575" custScaleY="125122" custLinFactNeighborY="3573">
        <dgm:presLayoutVars>
          <dgm:bulletEnabled val="1"/>
        </dgm:presLayoutVars>
      </dgm:prSet>
      <dgm:spPr/>
    </dgm:pt>
  </dgm:ptLst>
  <dgm:cxnLst>
    <dgm:cxn modelId="{1F297C19-993D-4A4E-BF0E-7C030993873D}" srcId="{78E24417-5166-417F-88CA-E1EAA1C08EDF}" destId="{AFA14602-C2C3-4993-B464-C0439617D1CE}" srcOrd="0" destOrd="0" parTransId="{4F81E50F-F92B-4D22-A8DE-920261E3C033}" sibTransId="{42A43094-7D35-47B1-984C-BE7DEA83E87A}"/>
    <dgm:cxn modelId="{A7C7CA22-1A20-40BE-A25A-71EBC5C78ACB}" type="presOf" srcId="{78E24417-5166-417F-88CA-E1EAA1C08EDF}" destId="{2AEF5431-DA26-4449-BE5E-58391598683E}" srcOrd="0" destOrd="0" presId="urn:microsoft.com/office/officeart/2005/8/layout/vList5"/>
    <dgm:cxn modelId="{E90CC926-0A79-493E-8EDC-9182FE71CD1B}" srcId="{AFA14602-C2C3-4993-B464-C0439617D1CE}" destId="{1B77DD69-29C0-4D67-929B-FA68AA83D074}" srcOrd="4" destOrd="0" parTransId="{800E99C3-945B-4A03-AEB1-98E8A14A873A}" sibTransId="{8D341D8E-09E9-4720-AB8A-9E0D619F53DA}"/>
    <dgm:cxn modelId="{1DED4731-1D64-4A4C-B5A1-74D38095F30F}" type="presOf" srcId="{0B956457-AE86-441D-A94D-0846D19DB564}" destId="{9B5FC0C6-3F7C-4FEA-88D9-1EFDA05882FF}" srcOrd="0" destOrd="2" presId="urn:microsoft.com/office/officeart/2005/8/layout/vList5"/>
    <dgm:cxn modelId="{B7294B36-69F4-4A11-8CC0-E17042871689}" srcId="{AFA14602-C2C3-4993-B464-C0439617D1CE}" destId="{B51211AD-4E37-4698-B5BE-CDDA3F060FAC}" srcOrd="0" destOrd="0" parTransId="{BBA57CAF-1BF1-44FC-B50F-C9213B693484}" sibTransId="{5F9E3690-2B35-4722-9B8E-7EE9468AA6A5}"/>
    <dgm:cxn modelId="{17D3DC62-8563-402D-AB05-54CDD5472C43}" type="presOf" srcId="{1B77DD69-29C0-4D67-929B-FA68AA83D074}" destId="{9B5FC0C6-3F7C-4FEA-88D9-1EFDA05882FF}" srcOrd="0" destOrd="4" presId="urn:microsoft.com/office/officeart/2005/8/layout/vList5"/>
    <dgm:cxn modelId="{6C7CF847-9443-4F94-A258-AF4D1FE4C65B}" type="presOf" srcId="{BB83E13D-9117-4446-B911-D838145B048E}" destId="{9B5FC0C6-3F7C-4FEA-88D9-1EFDA05882FF}" srcOrd="0" destOrd="5" presId="urn:microsoft.com/office/officeart/2005/8/layout/vList5"/>
    <dgm:cxn modelId="{8DE9E368-BD45-4602-81BE-2A0B8042FB32}" type="presOf" srcId="{C2393854-62AB-494F-ACB6-B4EF3F2D41FF}" destId="{9B5FC0C6-3F7C-4FEA-88D9-1EFDA05882FF}" srcOrd="0" destOrd="1" presId="urn:microsoft.com/office/officeart/2005/8/layout/vList5"/>
    <dgm:cxn modelId="{BC85F883-9CD7-4554-B01E-105ECB7D44F8}" type="presOf" srcId="{B51211AD-4E37-4698-B5BE-CDDA3F060FAC}" destId="{9B5FC0C6-3F7C-4FEA-88D9-1EFDA05882FF}" srcOrd="0" destOrd="0" presId="urn:microsoft.com/office/officeart/2005/8/layout/vList5"/>
    <dgm:cxn modelId="{6C98DC8E-ECA7-4A8D-A6C6-FC9E4F302C21}" type="presOf" srcId="{A502E690-D0DA-4331-92BF-26CBB3C9AA05}" destId="{9B5FC0C6-3F7C-4FEA-88D9-1EFDA05882FF}" srcOrd="0" destOrd="3" presId="urn:microsoft.com/office/officeart/2005/8/layout/vList5"/>
    <dgm:cxn modelId="{5B80FDB0-8F0F-48C5-B227-E795372EF834}" type="presOf" srcId="{AFA14602-C2C3-4993-B464-C0439617D1CE}" destId="{1C479F0B-C610-4C88-A4DB-38C5FDE7CD99}" srcOrd="0" destOrd="0" presId="urn:microsoft.com/office/officeart/2005/8/layout/vList5"/>
    <dgm:cxn modelId="{1FE201C6-0351-4B86-90AD-B7F91B8C9C4B}" srcId="{AFA14602-C2C3-4993-B464-C0439617D1CE}" destId="{C2393854-62AB-494F-ACB6-B4EF3F2D41FF}" srcOrd="1" destOrd="0" parTransId="{93BC4062-00BC-4787-9679-A0C521E5B03C}" sibTransId="{EBB8FFF6-C98E-4DFB-A370-BFCD3E083446}"/>
    <dgm:cxn modelId="{7F9AC2D2-1E97-48B3-94D4-1E727966FC74}" srcId="{AFA14602-C2C3-4993-B464-C0439617D1CE}" destId="{A502E690-D0DA-4331-92BF-26CBB3C9AA05}" srcOrd="3" destOrd="0" parTransId="{648C007A-CD24-4D49-8824-C2F030B49037}" sibTransId="{0F3F08A7-32D7-41D3-A628-1DC87ED16326}"/>
    <dgm:cxn modelId="{52FCBCE2-01F5-4C7D-99FB-E013CC550763}" srcId="{AFA14602-C2C3-4993-B464-C0439617D1CE}" destId="{0B956457-AE86-441D-A94D-0846D19DB564}" srcOrd="2" destOrd="0" parTransId="{95AA5F09-43EE-4935-A4EE-E2E8F32687A4}" sibTransId="{46774B29-BA64-4F97-AAF0-83BD33D35418}"/>
    <dgm:cxn modelId="{0F5BE0FF-C02F-49F3-84C2-B35D57BDFF7F}" srcId="{AFA14602-C2C3-4993-B464-C0439617D1CE}" destId="{BB83E13D-9117-4446-B911-D838145B048E}" srcOrd="5" destOrd="0" parTransId="{EA611DDF-2291-4D8B-BE6E-170AC8D0C48F}" sibTransId="{EE96FEDA-E2BC-4D01-A6ED-6A5CF616020B}"/>
    <dgm:cxn modelId="{942E4A1A-B859-41E1-A65A-072FE93162EF}" type="presParOf" srcId="{2AEF5431-DA26-4449-BE5E-58391598683E}" destId="{E43D12A8-9220-4F93-BBBD-757BF2B670A9}" srcOrd="0" destOrd="0" presId="urn:microsoft.com/office/officeart/2005/8/layout/vList5"/>
    <dgm:cxn modelId="{AB1B9A7E-38F5-443F-9AE8-6AF6F0D39C56}" type="presParOf" srcId="{E43D12A8-9220-4F93-BBBD-757BF2B670A9}" destId="{1C479F0B-C610-4C88-A4DB-38C5FDE7CD99}" srcOrd="0" destOrd="0" presId="urn:microsoft.com/office/officeart/2005/8/layout/vList5"/>
    <dgm:cxn modelId="{6F0714FC-2D44-4EC0-AA32-329B27DE146A}" type="presParOf" srcId="{E43D12A8-9220-4F93-BBBD-757BF2B670A9}" destId="{9B5FC0C6-3F7C-4FEA-88D9-1EFDA05882FF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9.xml><?xml version="1.0" encoding="utf-8"?>
<dgm:dataModel xmlns:dgm="http://schemas.openxmlformats.org/drawingml/2006/diagram" xmlns:a="http://schemas.openxmlformats.org/drawingml/2006/main">
  <dgm:ptLst>
    <dgm:pt modelId="{CD26F62B-22A9-497B-AFBA-C7EC9DBAB4F6}" type="doc">
      <dgm:prSet loTypeId="urn:microsoft.com/office/officeart/2005/8/layout/lProcess1" loCatId="process" qsTypeId="urn:microsoft.com/office/officeart/2005/8/quickstyle/simple2" qsCatId="simple" csTypeId="urn:microsoft.com/office/officeart/2005/8/colors/accent1_4" csCatId="accent1" phldr="1"/>
      <dgm:spPr/>
      <dgm:t>
        <a:bodyPr/>
        <a:lstStyle/>
        <a:p>
          <a:endParaRPr lang="pt-BR"/>
        </a:p>
      </dgm:t>
    </dgm:pt>
    <dgm:pt modelId="{39B78235-6B49-481E-8A69-A43D605BE618}" type="pres">
      <dgm:prSet presAssocID="{CD26F62B-22A9-497B-AFBA-C7EC9DBAB4F6}" presName="Name0" presStyleCnt="0">
        <dgm:presLayoutVars>
          <dgm:dir/>
          <dgm:animLvl val="lvl"/>
          <dgm:resizeHandles val="exact"/>
        </dgm:presLayoutVars>
      </dgm:prSet>
      <dgm:spPr/>
    </dgm:pt>
  </dgm:ptLst>
  <dgm:cxnLst>
    <dgm:cxn modelId="{44668E80-43FA-4034-B1D0-C4F2C2687711}" type="presOf" srcId="{CD26F62B-22A9-497B-AFBA-C7EC9DBAB4F6}" destId="{39B78235-6B49-481E-8A69-A43D605BE618}" srcOrd="0" destOrd="0" presId="urn:microsoft.com/office/officeart/2005/8/layout/l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8F1E0991-8B0D-4C60-8BE6-102E7E8C44EB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BAF217A4-4C54-4E9A-9E5E-29EB16F798C1}">
      <dgm:prSet phldrT="[Texto]"/>
      <dgm:spPr/>
      <dgm:t>
        <a:bodyPr/>
        <a:lstStyle/>
        <a:p>
          <a:r>
            <a:rPr lang="pt-BR" dirty="0"/>
            <a:t>Resolução 355, de 17 de março de 2015</a:t>
          </a:r>
        </a:p>
      </dgm:t>
    </dgm:pt>
    <dgm:pt modelId="{60670D51-6647-4830-AAC5-CC07941A5A2B}" type="parTrans" cxnId="{53E87C72-1AE8-44FC-8733-0FC3A4B0BD1B}">
      <dgm:prSet/>
      <dgm:spPr/>
      <dgm:t>
        <a:bodyPr/>
        <a:lstStyle/>
        <a:p>
          <a:endParaRPr lang="pt-BR"/>
        </a:p>
      </dgm:t>
    </dgm:pt>
    <dgm:pt modelId="{B6038937-258E-4C92-9339-55EAAC64450D}" type="sibTrans" cxnId="{53E87C72-1AE8-44FC-8733-0FC3A4B0BD1B}">
      <dgm:prSet/>
      <dgm:spPr/>
      <dgm:t>
        <a:bodyPr/>
        <a:lstStyle/>
        <a:p>
          <a:endParaRPr lang="pt-BR"/>
        </a:p>
      </dgm:t>
    </dgm:pt>
    <dgm:pt modelId="{94F4C3E5-B98B-461B-B80A-22A950E7D599}">
      <dgm:prSet phldrT="[Texto]"/>
      <dgm:spPr/>
      <dgm:t>
        <a:bodyPr/>
        <a:lstStyle/>
        <a:p>
          <a:r>
            <a:rPr lang="pt-BR" dirty="0"/>
            <a:t>Proposta de revisão da Resolução nº 355/2015</a:t>
          </a:r>
        </a:p>
      </dgm:t>
    </dgm:pt>
    <dgm:pt modelId="{509E1BF2-512C-4652-B16C-E6FA34E67288}" type="parTrans" cxnId="{6AE3824F-E991-4ED9-9600-96356DB2926B}">
      <dgm:prSet/>
      <dgm:spPr/>
      <dgm:t>
        <a:bodyPr/>
        <a:lstStyle/>
        <a:p>
          <a:endParaRPr lang="pt-BR"/>
        </a:p>
      </dgm:t>
    </dgm:pt>
    <dgm:pt modelId="{ADDE36F7-8228-4CA4-BE6F-968342EC0C2E}" type="sibTrans" cxnId="{6AE3824F-E991-4ED9-9600-96356DB2926B}">
      <dgm:prSet/>
      <dgm:spPr/>
      <dgm:t>
        <a:bodyPr/>
        <a:lstStyle/>
        <a:p>
          <a:endParaRPr lang="pt-BR"/>
        </a:p>
      </dgm:t>
    </dgm:pt>
    <dgm:pt modelId="{7550B359-C116-4832-972C-5DA48EED14F5}">
      <dgm:prSet/>
      <dgm:spPr/>
      <dgm:t>
        <a:bodyPr/>
        <a:lstStyle/>
        <a:p>
          <a:r>
            <a:rPr lang="pt-BR" dirty="0"/>
            <a:t>Audiência Pública nº 09/2014</a:t>
          </a:r>
        </a:p>
      </dgm:t>
    </dgm:pt>
    <dgm:pt modelId="{2F2C72FB-2BD2-4A13-B993-904EFD95C25F}" type="parTrans" cxnId="{59EFCBF1-A42B-461C-BB73-EDE80C4C12FD}">
      <dgm:prSet/>
      <dgm:spPr/>
      <dgm:t>
        <a:bodyPr/>
        <a:lstStyle/>
        <a:p>
          <a:endParaRPr lang="pt-BR"/>
        </a:p>
      </dgm:t>
    </dgm:pt>
    <dgm:pt modelId="{A9F10FEF-D86C-4158-A88A-1B25AD9597E0}" type="sibTrans" cxnId="{59EFCBF1-A42B-461C-BB73-EDE80C4C12FD}">
      <dgm:prSet/>
      <dgm:spPr/>
      <dgm:t>
        <a:bodyPr/>
        <a:lstStyle/>
        <a:p>
          <a:endParaRPr lang="pt-BR"/>
        </a:p>
      </dgm:t>
    </dgm:pt>
    <dgm:pt modelId="{0317C9F4-0FAC-4210-B7FA-CBDA7C1E86D7}">
      <dgm:prSet/>
      <dgm:spPr/>
      <dgm:t>
        <a:bodyPr/>
        <a:lstStyle/>
        <a:p>
          <a:r>
            <a:rPr lang="pt-BR" dirty="0"/>
            <a:t>Audiência Pública nº 12/2017</a:t>
          </a:r>
        </a:p>
      </dgm:t>
    </dgm:pt>
    <dgm:pt modelId="{45B5F5A8-A9DE-4198-A39F-01BE3839F82B}" type="parTrans" cxnId="{FFCDCE82-46FE-40A6-8CDE-4533E6388EE6}">
      <dgm:prSet/>
      <dgm:spPr/>
      <dgm:t>
        <a:bodyPr/>
        <a:lstStyle/>
        <a:p>
          <a:endParaRPr lang="pt-BR"/>
        </a:p>
      </dgm:t>
    </dgm:pt>
    <dgm:pt modelId="{4FB26A7B-743A-4224-B056-A7C82A74A8E7}" type="sibTrans" cxnId="{FFCDCE82-46FE-40A6-8CDE-4533E6388EE6}">
      <dgm:prSet/>
      <dgm:spPr/>
      <dgm:t>
        <a:bodyPr/>
        <a:lstStyle/>
        <a:p>
          <a:endParaRPr lang="pt-BR"/>
        </a:p>
      </dgm:t>
    </dgm:pt>
    <dgm:pt modelId="{5BAFB192-881D-4CC2-95FE-24C103D95AB0}">
      <dgm:prSet/>
      <dgm:spPr/>
      <dgm:t>
        <a:bodyPr/>
        <a:lstStyle/>
        <a:p>
          <a:r>
            <a:rPr lang="pt-BR" dirty="0"/>
            <a:t>Audiência Pública nº 16/2018</a:t>
          </a:r>
        </a:p>
      </dgm:t>
    </dgm:pt>
    <dgm:pt modelId="{C172D6DF-D66D-4C40-A282-544A2C17B931}" type="parTrans" cxnId="{FED57AA9-AD17-44B8-A71E-6CDE768B88BA}">
      <dgm:prSet/>
      <dgm:spPr/>
      <dgm:t>
        <a:bodyPr/>
        <a:lstStyle/>
        <a:p>
          <a:endParaRPr lang="pt-BR"/>
        </a:p>
      </dgm:t>
    </dgm:pt>
    <dgm:pt modelId="{A6A226F8-745B-43B1-886E-56EF30AABC0F}" type="sibTrans" cxnId="{FED57AA9-AD17-44B8-A71E-6CDE768B88BA}">
      <dgm:prSet/>
      <dgm:spPr/>
      <dgm:t>
        <a:bodyPr/>
        <a:lstStyle/>
        <a:p>
          <a:endParaRPr lang="pt-BR"/>
        </a:p>
      </dgm:t>
    </dgm:pt>
    <dgm:pt modelId="{0F5FD646-106C-44DF-BE00-138CC150E06C}" type="pres">
      <dgm:prSet presAssocID="{8F1E0991-8B0D-4C60-8BE6-102E7E8C44EB}" presName="linear" presStyleCnt="0">
        <dgm:presLayoutVars>
          <dgm:dir/>
          <dgm:animLvl val="lvl"/>
          <dgm:resizeHandles val="exact"/>
        </dgm:presLayoutVars>
      </dgm:prSet>
      <dgm:spPr/>
    </dgm:pt>
    <dgm:pt modelId="{9DD2EEA6-61F5-460B-97AE-20BE5EA4C6D5}" type="pres">
      <dgm:prSet presAssocID="{BAF217A4-4C54-4E9A-9E5E-29EB16F798C1}" presName="parentLin" presStyleCnt="0"/>
      <dgm:spPr/>
    </dgm:pt>
    <dgm:pt modelId="{CB37D9ED-875F-45A3-865B-12ECA28C8679}" type="pres">
      <dgm:prSet presAssocID="{BAF217A4-4C54-4E9A-9E5E-29EB16F798C1}" presName="parentLeftMargin" presStyleLbl="node1" presStyleIdx="0" presStyleCnt="2"/>
      <dgm:spPr/>
    </dgm:pt>
    <dgm:pt modelId="{8ABCAADE-468F-4323-825F-38AFDF747341}" type="pres">
      <dgm:prSet presAssocID="{BAF217A4-4C54-4E9A-9E5E-29EB16F798C1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F9E4860B-DC43-45FD-9DF8-F65D82F77EDD}" type="pres">
      <dgm:prSet presAssocID="{BAF217A4-4C54-4E9A-9E5E-29EB16F798C1}" presName="negativeSpace" presStyleCnt="0"/>
      <dgm:spPr/>
    </dgm:pt>
    <dgm:pt modelId="{6F8D66A9-7F7B-4D0B-865F-548174EDFC7D}" type="pres">
      <dgm:prSet presAssocID="{BAF217A4-4C54-4E9A-9E5E-29EB16F798C1}" presName="childText" presStyleLbl="conFgAcc1" presStyleIdx="0" presStyleCnt="2">
        <dgm:presLayoutVars>
          <dgm:bulletEnabled val="1"/>
        </dgm:presLayoutVars>
      </dgm:prSet>
      <dgm:spPr/>
    </dgm:pt>
    <dgm:pt modelId="{9AE6ADDD-9CAC-4F11-9782-5AB0448C779A}" type="pres">
      <dgm:prSet presAssocID="{B6038937-258E-4C92-9339-55EAAC64450D}" presName="spaceBetweenRectangles" presStyleCnt="0"/>
      <dgm:spPr/>
    </dgm:pt>
    <dgm:pt modelId="{845660E9-865F-4E03-83F6-2A2AF7B96D67}" type="pres">
      <dgm:prSet presAssocID="{94F4C3E5-B98B-461B-B80A-22A950E7D599}" presName="parentLin" presStyleCnt="0"/>
      <dgm:spPr/>
    </dgm:pt>
    <dgm:pt modelId="{D5202E79-97A8-4CD0-A492-52615A4763A6}" type="pres">
      <dgm:prSet presAssocID="{94F4C3E5-B98B-461B-B80A-22A950E7D599}" presName="parentLeftMargin" presStyleLbl="node1" presStyleIdx="0" presStyleCnt="2"/>
      <dgm:spPr/>
    </dgm:pt>
    <dgm:pt modelId="{59EB7D8D-1771-431C-93EB-C9736FBD7311}" type="pres">
      <dgm:prSet presAssocID="{94F4C3E5-B98B-461B-B80A-22A950E7D599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8790A3CB-CC92-4A3C-A9E4-1664A3412578}" type="pres">
      <dgm:prSet presAssocID="{94F4C3E5-B98B-461B-B80A-22A950E7D599}" presName="negativeSpace" presStyleCnt="0"/>
      <dgm:spPr/>
    </dgm:pt>
    <dgm:pt modelId="{3537DE74-2D08-4756-894E-7979BF0A1714}" type="pres">
      <dgm:prSet presAssocID="{94F4C3E5-B98B-461B-B80A-22A950E7D599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43922D24-1FAF-4C47-8D8D-DF98CD407C43}" type="presOf" srcId="{5BAFB192-881D-4CC2-95FE-24C103D95AB0}" destId="{3537DE74-2D08-4756-894E-7979BF0A1714}" srcOrd="0" destOrd="1" presId="urn:microsoft.com/office/officeart/2005/8/layout/list1"/>
    <dgm:cxn modelId="{A6830649-F95C-4578-BF31-9F43BDA6A364}" type="presOf" srcId="{BAF217A4-4C54-4E9A-9E5E-29EB16F798C1}" destId="{CB37D9ED-875F-45A3-865B-12ECA28C8679}" srcOrd="0" destOrd="0" presId="urn:microsoft.com/office/officeart/2005/8/layout/list1"/>
    <dgm:cxn modelId="{6AE3824F-E991-4ED9-9600-96356DB2926B}" srcId="{8F1E0991-8B0D-4C60-8BE6-102E7E8C44EB}" destId="{94F4C3E5-B98B-461B-B80A-22A950E7D599}" srcOrd="1" destOrd="0" parTransId="{509E1BF2-512C-4652-B16C-E6FA34E67288}" sibTransId="{ADDE36F7-8228-4CA4-BE6F-968342EC0C2E}"/>
    <dgm:cxn modelId="{53E87C72-1AE8-44FC-8733-0FC3A4B0BD1B}" srcId="{8F1E0991-8B0D-4C60-8BE6-102E7E8C44EB}" destId="{BAF217A4-4C54-4E9A-9E5E-29EB16F798C1}" srcOrd="0" destOrd="0" parTransId="{60670D51-6647-4830-AAC5-CC07941A5A2B}" sibTransId="{B6038937-258E-4C92-9339-55EAAC64450D}"/>
    <dgm:cxn modelId="{63C93F58-1840-46D2-87DD-7CE6EED32A27}" type="presOf" srcId="{0317C9F4-0FAC-4210-B7FA-CBDA7C1E86D7}" destId="{3537DE74-2D08-4756-894E-7979BF0A1714}" srcOrd="0" destOrd="0" presId="urn:microsoft.com/office/officeart/2005/8/layout/list1"/>
    <dgm:cxn modelId="{FFCDCE82-46FE-40A6-8CDE-4533E6388EE6}" srcId="{94F4C3E5-B98B-461B-B80A-22A950E7D599}" destId="{0317C9F4-0FAC-4210-B7FA-CBDA7C1E86D7}" srcOrd="0" destOrd="0" parTransId="{45B5F5A8-A9DE-4198-A39F-01BE3839F82B}" sibTransId="{4FB26A7B-743A-4224-B056-A7C82A74A8E7}"/>
    <dgm:cxn modelId="{2FF7C68E-E560-4DA6-AD3D-929BDE3C359C}" type="presOf" srcId="{BAF217A4-4C54-4E9A-9E5E-29EB16F798C1}" destId="{8ABCAADE-468F-4323-825F-38AFDF747341}" srcOrd="1" destOrd="0" presId="urn:microsoft.com/office/officeart/2005/8/layout/list1"/>
    <dgm:cxn modelId="{FED57AA9-AD17-44B8-A71E-6CDE768B88BA}" srcId="{94F4C3E5-B98B-461B-B80A-22A950E7D599}" destId="{5BAFB192-881D-4CC2-95FE-24C103D95AB0}" srcOrd="1" destOrd="0" parTransId="{C172D6DF-D66D-4C40-A282-544A2C17B931}" sibTransId="{A6A226F8-745B-43B1-886E-56EF30AABC0F}"/>
    <dgm:cxn modelId="{7DA2FEC1-8ECB-4685-8B72-89829B363D7D}" type="presOf" srcId="{8F1E0991-8B0D-4C60-8BE6-102E7E8C44EB}" destId="{0F5FD646-106C-44DF-BE00-138CC150E06C}" srcOrd="0" destOrd="0" presId="urn:microsoft.com/office/officeart/2005/8/layout/list1"/>
    <dgm:cxn modelId="{8C89C3D2-DD23-449E-97F8-871F5936917D}" type="presOf" srcId="{94F4C3E5-B98B-461B-B80A-22A950E7D599}" destId="{59EB7D8D-1771-431C-93EB-C9736FBD7311}" srcOrd="1" destOrd="0" presId="urn:microsoft.com/office/officeart/2005/8/layout/list1"/>
    <dgm:cxn modelId="{5FA1CFDE-5D85-4AC9-83D8-C3B8D69405AB}" type="presOf" srcId="{7550B359-C116-4832-972C-5DA48EED14F5}" destId="{6F8D66A9-7F7B-4D0B-865F-548174EDFC7D}" srcOrd="0" destOrd="0" presId="urn:microsoft.com/office/officeart/2005/8/layout/list1"/>
    <dgm:cxn modelId="{59EFCBF1-A42B-461C-BB73-EDE80C4C12FD}" srcId="{BAF217A4-4C54-4E9A-9E5E-29EB16F798C1}" destId="{7550B359-C116-4832-972C-5DA48EED14F5}" srcOrd="0" destOrd="0" parTransId="{2F2C72FB-2BD2-4A13-B993-904EFD95C25F}" sibTransId="{A9F10FEF-D86C-4158-A88A-1B25AD9597E0}"/>
    <dgm:cxn modelId="{2A518CF7-7A8D-433C-AF7F-9AE90449704A}" type="presOf" srcId="{94F4C3E5-B98B-461B-B80A-22A950E7D599}" destId="{D5202E79-97A8-4CD0-A492-52615A4763A6}" srcOrd="0" destOrd="0" presId="urn:microsoft.com/office/officeart/2005/8/layout/list1"/>
    <dgm:cxn modelId="{4A727797-7F32-4EBC-A841-3CCF3A4D03B4}" type="presParOf" srcId="{0F5FD646-106C-44DF-BE00-138CC150E06C}" destId="{9DD2EEA6-61F5-460B-97AE-20BE5EA4C6D5}" srcOrd="0" destOrd="0" presId="urn:microsoft.com/office/officeart/2005/8/layout/list1"/>
    <dgm:cxn modelId="{3070ED26-AA86-4E89-9CE9-145E1304D650}" type="presParOf" srcId="{9DD2EEA6-61F5-460B-97AE-20BE5EA4C6D5}" destId="{CB37D9ED-875F-45A3-865B-12ECA28C8679}" srcOrd="0" destOrd="0" presId="urn:microsoft.com/office/officeart/2005/8/layout/list1"/>
    <dgm:cxn modelId="{426866EE-8538-45E5-AA94-B1DDE1E3055F}" type="presParOf" srcId="{9DD2EEA6-61F5-460B-97AE-20BE5EA4C6D5}" destId="{8ABCAADE-468F-4323-825F-38AFDF747341}" srcOrd="1" destOrd="0" presId="urn:microsoft.com/office/officeart/2005/8/layout/list1"/>
    <dgm:cxn modelId="{2DA6FCE5-C4A3-4D72-97B5-3201C77F167C}" type="presParOf" srcId="{0F5FD646-106C-44DF-BE00-138CC150E06C}" destId="{F9E4860B-DC43-45FD-9DF8-F65D82F77EDD}" srcOrd="1" destOrd="0" presId="urn:microsoft.com/office/officeart/2005/8/layout/list1"/>
    <dgm:cxn modelId="{09FFED25-F1D5-48F7-874B-AF61C372ED4E}" type="presParOf" srcId="{0F5FD646-106C-44DF-BE00-138CC150E06C}" destId="{6F8D66A9-7F7B-4D0B-865F-548174EDFC7D}" srcOrd="2" destOrd="0" presId="urn:microsoft.com/office/officeart/2005/8/layout/list1"/>
    <dgm:cxn modelId="{8FCF225B-B6AE-41F1-9B02-E6050535F605}" type="presParOf" srcId="{0F5FD646-106C-44DF-BE00-138CC150E06C}" destId="{9AE6ADDD-9CAC-4F11-9782-5AB0448C779A}" srcOrd="3" destOrd="0" presId="urn:microsoft.com/office/officeart/2005/8/layout/list1"/>
    <dgm:cxn modelId="{347AA3BD-6327-4696-AB1D-95DE95383557}" type="presParOf" srcId="{0F5FD646-106C-44DF-BE00-138CC150E06C}" destId="{845660E9-865F-4E03-83F6-2A2AF7B96D67}" srcOrd="4" destOrd="0" presId="urn:microsoft.com/office/officeart/2005/8/layout/list1"/>
    <dgm:cxn modelId="{309E629E-8382-4E6E-910D-75D3D18FD6AA}" type="presParOf" srcId="{845660E9-865F-4E03-83F6-2A2AF7B96D67}" destId="{D5202E79-97A8-4CD0-A492-52615A4763A6}" srcOrd="0" destOrd="0" presId="urn:microsoft.com/office/officeart/2005/8/layout/list1"/>
    <dgm:cxn modelId="{3167AA8C-6C8E-404B-931C-2FADE0352439}" type="presParOf" srcId="{845660E9-865F-4E03-83F6-2A2AF7B96D67}" destId="{59EB7D8D-1771-431C-93EB-C9736FBD7311}" srcOrd="1" destOrd="0" presId="urn:microsoft.com/office/officeart/2005/8/layout/list1"/>
    <dgm:cxn modelId="{6BF2010B-9EF8-4593-B9C4-2B9B85F9DFE5}" type="presParOf" srcId="{0F5FD646-106C-44DF-BE00-138CC150E06C}" destId="{8790A3CB-CC92-4A3C-A9E4-1664A3412578}" srcOrd="5" destOrd="0" presId="urn:microsoft.com/office/officeart/2005/8/layout/list1"/>
    <dgm:cxn modelId="{712BA206-1B22-4474-BD25-B0DC04F93005}" type="presParOf" srcId="{0F5FD646-106C-44DF-BE00-138CC150E06C}" destId="{3537DE74-2D08-4756-894E-7979BF0A1714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40.xml><?xml version="1.0" encoding="utf-8"?>
<dgm:dataModel xmlns:dgm="http://schemas.openxmlformats.org/drawingml/2006/diagram" xmlns:a="http://schemas.openxmlformats.org/drawingml/2006/main">
  <dgm:ptLst>
    <dgm:pt modelId="{CD26F62B-22A9-497B-AFBA-C7EC9DBAB4F6}" type="doc">
      <dgm:prSet loTypeId="urn:microsoft.com/office/officeart/2005/8/layout/lProcess1" loCatId="process" qsTypeId="urn:microsoft.com/office/officeart/2005/8/quickstyle/simple2" qsCatId="simple" csTypeId="urn:microsoft.com/office/officeart/2005/8/colors/accent1_4" csCatId="accent1" phldr="1"/>
      <dgm:spPr/>
      <dgm:t>
        <a:bodyPr/>
        <a:lstStyle/>
        <a:p>
          <a:endParaRPr lang="pt-BR"/>
        </a:p>
      </dgm:t>
    </dgm:pt>
    <dgm:pt modelId="{39B78235-6B49-481E-8A69-A43D605BE618}" type="pres">
      <dgm:prSet presAssocID="{CD26F62B-22A9-497B-AFBA-C7EC9DBAB4F6}" presName="Name0" presStyleCnt="0">
        <dgm:presLayoutVars>
          <dgm:dir/>
          <dgm:animLvl val="lvl"/>
          <dgm:resizeHandles val="exact"/>
        </dgm:presLayoutVars>
      </dgm:prSet>
      <dgm:spPr/>
    </dgm:pt>
  </dgm:ptLst>
  <dgm:cxnLst>
    <dgm:cxn modelId="{44668E80-43FA-4034-B1D0-C4F2C2687711}" type="presOf" srcId="{CD26F62B-22A9-497B-AFBA-C7EC9DBAB4F6}" destId="{39B78235-6B49-481E-8A69-A43D605BE618}" srcOrd="0" destOrd="0" presId="urn:microsoft.com/office/officeart/2005/8/layout/lProcess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41.xml><?xml version="1.0" encoding="utf-8"?>
<dgm:dataModel xmlns:dgm="http://schemas.openxmlformats.org/drawingml/2006/diagram" xmlns:a="http://schemas.openxmlformats.org/drawingml/2006/main">
  <dgm:ptLst>
    <dgm:pt modelId="{CD26F62B-22A9-497B-AFBA-C7EC9DBAB4F6}" type="doc">
      <dgm:prSet loTypeId="urn:microsoft.com/office/officeart/2005/8/layout/lProcess1" loCatId="process" qsTypeId="urn:microsoft.com/office/officeart/2005/8/quickstyle/simple2" qsCatId="simple" csTypeId="urn:microsoft.com/office/officeart/2005/8/colors/accent1_4" csCatId="accent1" phldr="1"/>
      <dgm:spPr/>
      <dgm:t>
        <a:bodyPr/>
        <a:lstStyle/>
        <a:p>
          <a:endParaRPr lang="pt-BR"/>
        </a:p>
      </dgm:t>
    </dgm:pt>
    <dgm:pt modelId="{A3BBE326-1ACD-45FC-B2B6-96F8507E3681}">
      <dgm:prSet phldrT="[Texto]" custT="1"/>
      <dgm:spPr/>
      <dgm:t>
        <a:bodyPr/>
        <a:lstStyle/>
        <a:p>
          <a:r>
            <a:rPr lang="pt-BR" sz="2000" b="0" dirty="0"/>
            <a:t>Revisão da contribuição</a:t>
          </a:r>
        </a:p>
      </dgm:t>
    </dgm:pt>
    <dgm:pt modelId="{38B734E4-7942-48C5-9E85-16001B0E2C71}" type="sibTrans" cxnId="{A706D507-B7A6-4C4A-9331-126227F6C043}">
      <dgm:prSet/>
      <dgm:spPr/>
      <dgm:t>
        <a:bodyPr/>
        <a:lstStyle/>
        <a:p>
          <a:endParaRPr lang="pt-BR"/>
        </a:p>
      </dgm:t>
    </dgm:pt>
    <dgm:pt modelId="{D039B0C1-A461-47DA-BA15-10C8A5F1EC58}" type="parTrans" cxnId="{A706D507-B7A6-4C4A-9331-126227F6C043}">
      <dgm:prSet/>
      <dgm:spPr/>
      <dgm:t>
        <a:bodyPr/>
        <a:lstStyle/>
        <a:p>
          <a:endParaRPr lang="pt-BR"/>
        </a:p>
      </dgm:t>
    </dgm:pt>
    <dgm:pt modelId="{39B78235-6B49-481E-8A69-A43D605BE618}" type="pres">
      <dgm:prSet presAssocID="{CD26F62B-22A9-497B-AFBA-C7EC9DBAB4F6}" presName="Name0" presStyleCnt="0">
        <dgm:presLayoutVars>
          <dgm:dir/>
          <dgm:animLvl val="lvl"/>
          <dgm:resizeHandles val="exact"/>
        </dgm:presLayoutVars>
      </dgm:prSet>
      <dgm:spPr/>
    </dgm:pt>
    <dgm:pt modelId="{BFB50B95-6C9B-4A8A-BCB8-A290DDEC30FF}" type="pres">
      <dgm:prSet presAssocID="{A3BBE326-1ACD-45FC-B2B6-96F8507E3681}" presName="vertFlow" presStyleCnt="0"/>
      <dgm:spPr/>
    </dgm:pt>
    <dgm:pt modelId="{73025F19-DEDA-41B3-B79C-D4BF8DC81D3C}" type="pres">
      <dgm:prSet presAssocID="{A3BBE326-1ACD-45FC-B2B6-96F8507E3681}" presName="header" presStyleLbl="node1" presStyleIdx="0" presStyleCnt="1" custAng="10800000" custFlipVert="1" custScaleX="130537" custScaleY="62953" custLinFactNeighborX="-7996" custLinFactNeighborY="-20484"/>
      <dgm:spPr/>
    </dgm:pt>
  </dgm:ptLst>
  <dgm:cxnLst>
    <dgm:cxn modelId="{A706D507-B7A6-4C4A-9331-126227F6C043}" srcId="{CD26F62B-22A9-497B-AFBA-C7EC9DBAB4F6}" destId="{A3BBE326-1ACD-45FC-B2B6-96F8507E3681}" srcOrd="0" destOrd="0" parTransId="{D039B0C1-A461-47DA-BA15-10C8A5F1EC58}" sibTransId="{38B734E4-7942-48C5-9E85-16001B0E2C71}"/>
    <dgm:cxn modelId="{42927A6F-E278-4BB4-8A80-A11435A51BF1}" type="presOf" srcId="{A3BBE326-1ACD-45FC-B2B6-96F8507E3681}" destId="{73025F19-DEDA-41B3-B79C-D4BF8DC81D3C}" srcOrd="0" destOrd="0" presId="urn:microsoft.com/office/officeart/2005/8/layout/lProcess1"/>
    <dgm:cxn modelId="{44668E80-43FA-4034-B1D0-C4F2C2687711}" type="presOf" srcId="{CD26F62B-22A9-497B-AFBA-C7EC9DBAB4F6}" destId="{39B78235-6B49-481E-8A69-A43D605BE618}" srcOrd="0" destOrd="0" presId="urn:microsoft.com/office/officeart/2005/8/layout/lProcess1"/>
    <dgm:cxn modelId="{41F6FE91-EF8C-4C7C-BDE3-4B92C0D01CDF}" type="presParOf" srcId="{39B78235-6B49-481E-8A69-A43D605BE618}" destId="{BFB50B95-6C9B-4A8A-BCB8-A290DDEC30FF}" srcOrd="0" destOrd="0" presId="urn:microsoft.com/office/officeart/2005/8/layout/lProcess1"/>
    <dgm:cxn modelId="{23E91C97-90AA-4776-88AF-B15EBA17BB6A}" type="presParOf" srcId="{BFB50B95-6C9B-4A8A-BCB8-A290DDEC30FF}" destId="{73025F19-DEDA-41B3-B79C-D4BF8DC81D3C}" srcOrd="0" destOrd="0" presId="urn:microsoft.com/office/officeart/2005/8/layout/lProcess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42.xml><?xml version="1.0" encoding="utf-8"?>
<dgm:dataModel xmlns:dgm="http://schemas.openxmlformats.org/drawingml/2006/diagram" xmlns:a="http://schemas.openxmlformats.org/drawingml/2006/main">
  <dgm:ptLst>
    <dgm:pt modelId="{9CC0A743-864C-4C4C-A6F5-353DEF64D166}" type="doc">
      <dgm:prSet loTypeId="urn:microsoft.com/office/officeart/2005/8/layout/chevron2" loCatId="list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E0B441C5-AE5B-4CF0-BAAD-8ADE7EC1F6F8}">
      <dgm:prSet phldrT="[Texto]"/>
      <dgm:spPr/>
      <dgm:t>
        <a:bodyPr/>
        <a:lstStyle/>
        <a:p>
          <a:r>
            <a:rPr lang="pt-BR" dirty="0"/>
            <a:t> </a:t>
          </a:r>
        </a:p>
      </dgm:t>
    </dgm:pt>
    <dgm:pt modelId="{3BC5C37D-0D82-41A8-BC9A-C334370D4611}" type="parTrans" cxnId="{D6D0A3F0-CCF3-439D-90E4-9FC873536086}">
      <dgm:prSet/>
      <dgm:spPr/>
      <dgm:t>
        <a:bodyPr/>
        <a:lstStyle/>
        <a:p>
          <a:endParaRPr lang="pt-BR"/>
        </a:p>
      </dgm:t>
    </dgm:pt>
    <dgm:pt modelId="{56515670-E3E2-4143-9992-0FAEFC226FF4}" type="sibTrans" cxnId="{D6D0A3F0-CCF3-439D-90E4-9FC873536086}">
      <dgm:prSet/>
      <dgm:spPr/>
      <dgm:t>
        <a:bodyPr/>
        <a:lstStyle/>
        <a:p>
          <a:endParaRPr lang="pt-BR"/>
        </a:p>
      </dgm:t>
    </dgm:pt>
    <dgm:pt modelId="{05581BE4-F654-4D16-82E8-DB5D0797DBA0}">
      <dgm:prSet phldrT="[Texto]" custT="1"/>
      <dgm:spPr/>
      <dgm:t>
        <a:bodyPr/>
        <a:lstStyle/>
        <a:p>
          <a:r>
            <a:rPr lang="pt-BR" sz="1800" dirty="0"/>
            <a:t>Fixa, variável ou mensal</a:t>
          </a:r>
        </a:p>
      </dgm:t>
    </dgm:pt>
    <dgm:pt modelId="{97CEAB7B-E479-411C-B44E-FBD370C18845}" type="parTrans" cxnId="{5349712C-88E0-4FBC-8DB0-B38D25652123}">
      <dgm:prSet/>
      <dgm:spPr/>
      <dgm:t>
        <a:bodyPr/>
        <a:lstStyle/>
        <a:p>
          <a:endParaRPr lang="pt-BR"/>
        </a:p>
      </dgm:t>
    </dgm:pt>
    <dgm:pt modelId="{8C9ED9C4-EC1A-4198-A6B7-2CC7B99E9E05}" type="sibTrans" cxnId="{5349712C-88E0-4FBC-8DB0-B38D25652123}">
      <dgm:prSet/>
      <dgm:spPr/>
      <dgm:t>
        <a:bodyPr/>
        <a:lstStyle/>
        <a:p>
          <a:endParaRPr lang="pt-BR"/>
        </a:p>
      </dgm:t>
    </dgm:pt>
    <dgm:pt modelId="{FEE26A3F-E5BC-4D1A-98C7-0D1B6D6244D3}">
      <dgm:prSet phldrT="[Texto]"/>
      <dgm:spPr/>
      <dgm:t>
        <a:bodyPr/>
        <a:lstStyle/>
        <a:p>
          <a:r>
            <a:rPr lang="pt-BR" dirty="0"/>
            <a:t> </a:t>
          </a:r>
        </a:p>
      </dgm:t>
    </dgm:pt>
    <dgm:pt modelId="{4C0B5F0D-AB36-413F-9A99-02C9E440448F}" type="parTrans" cxnId="{39D1821B-47C4-4222-BF44-7D84B93784DD}">
      <dgm:prSet/>
      <dgm:spPr/>
      <dgm:t>
        <a:bodyPr/>
        <a:lstStyle/>
        <a:p>
          <a:endParaRPr lang="pt-BR"/>
        </a:p>
      </dgm:t>
    </dgm:pt>
    <dgm:pt modelId="{DDB88AC1-5374-4729-AD38-2D60E2558E42}" type="sibTrans" cxnId="{39D1821B-47C4-4222-BF44-7D84B93784DD}">
      <dgm:prSet/>
      <dgm:spPr/>
      <dgm:t>
        <a:bodyPr/>
        <a:lstStyle/>
        <a:p>
          <a:endParaRPr lang="pt-BR"/>
        </a:p>
      </dgm:t>
    </dgm:pt>
    <dgm:pt modelId="{34A6E52F-823A-4327-8377-DBF51BA0B3E1}">
      <dgm:prSet phldrT="[Texto]" custT="1"/>
      <dgm:spPr/>
      <dgm:t>
        <a:bodyPr/>
        <a:lstStyle/>
        <a:p>
          <a:r>
            <a:rPr lang="pt-BR" sz="1800" dirty="0"/>
            <a:t>Previsão contratual</a:t>
          </a:r>
        </a:p>
      </dgm:t>
    </dgm:pt>
    <dgm:pt modelId="{769255D6-6751-4776-8ED6-DA44DAD25028}" type="parTrans" cxnId="{CB2B0242-5743-4DD0-89BA-5F9451E5A9A0}">
      <dgm:prSet/>
      <dgm:spPr/>
      <dgm:t>
        <a:bodyPr/>
        <a:lstStyle/>
        <a:p>
          <a:endParaRPr lang="pt-BR"/>
        </a:p>
      </dgm:t>
    </dgm:pt>
    <dgm:pt modelId="{8A508888-D8E4-4F0F-A1C8-5B1C533CA2E1}" type="sibTrans" cxnId="{CB2B0242-5743-4DD0-89BA-5F9451E5A9A0}">
      <dgm:prSet/>
      <dgm:spPr/>
      <dgm:t>
        <a:bodyPr/>
        <a:lstStyle/>
        <a:p>
          <a:endParaRPr lang="pt-BR"/>
        </a:p>
      </dgm:t>
    </dgm:pt>
    <dgm:pt modelId="{0E4FE4EE-9E6C-433D-897F-A4D9AF1B488C}">
      <dgm:prSet phldrT="[Texto]"/>
      <dgm:spPr/>
      <dgm:t>
        <a:bodyPr/>
        <a:lstStyle/>
        <a:p>
          <a:r>
            <a:rPr lang="pt-BR" dirty="0"/>
            <a:t> </a:t>
          </a:r>
        </a:p>
      </dgm:t>
    </dgm:pt>
    <dgm:pt modelId="{7B5DEB15-40A1-41C2-BB9A-E1A42A7F0F12}" type="parTrans" cxnId="{A872D029-D6E7-4EDE-A688-B04D363C273D}">
      <dgm:prSet/>
      <dgm:spPr/>
      <dgm:t>
        <a:bodyPr/>
        <a:lstStyle/>
        <a:p>
          <a:endParaRPr lang="pt-BR"/>
        </a:p>
      </dgm:t>
    </dgm:pt>
    <dgm:pt modelId="{9F79BB6A-28EE-4337-A170-D69C8E33000C}" type="sibTrans" cxnId="{A872D029-D6E7-4EDE-A688-B04D363C273D}">
      <dgm:prSet/>
      <dgm:spPr/>
      <dgm:t>
        <a:bodyPr/>
        <a:lstStyle/>
        <a:p>
          <a:endParaRPr lang="pt-BR"/>
        </a:p>
      </dgm:t>
    </dgm:pt>
    <dgm:pt modelId="{4AA5E754-49A3-4134-9DB2-E2EDE3C4717B}">
      <dgm:prSet custT="1"/>
      <dgm:spPr/>
      <dgm:t>
        <a:bodyPr/>
        <a:lstStyle/>
        <a:p>
          <a:r>
            <a:rPr lang="pt-BR" sz="1800" dirty="0"/>
            <a:t>Autorização MTPA</a:t>
          </a:r>
        </a:p>
      </dgm:t>
    </dgm:pt>
    <dgm:pt modelId="{986F2C85-3432-42A7-AFD0-CF9ACB1A98EB}" type="parTrans" cxnId="{EAC0DCC0-8AF6-4493-B7BA-EE4C1888266E}">
      <dgm:prSet/>
      <dgm:spPr/>
      <dgm:t>
        <a:bodyPr/>
        <a:lstStyle/>
        <a:p>
          <a:endParaRPr lang="pt-BR"/>
        </a:p>
      </dgm:t>
    </dgm:pt>
    <dgm:pt modelId="{DF9E1A2C-DA21-44E2-A0BC-B299A9D3AC77}" type="sibTrans" cxnId="{EAC0DCC0-8AF6-4493-B7BA-EE4C1888266E}">
      <dgm:prSet/>
      <dgm:spPr/>
      <dgm:t>
        <a:bodyPr/>
        <a:lstStyle/>
        <a:p>
          <a:endParaRPr lang="pt-BR"/>
        </a:p>
      </dgm:t>
    </dgm:pt>
    <dgm:pt modelId="{EC5294B2-8A9E-4095-8BB0-C134E7A4D1BD}" type="pres">
      <dgm:prSet presAssocID="{9CC0A743-864C-4C4C-A6F5-353DEF64D166}" presName="linearFlow" presStyleCnt="0">
        <dgm:presLayoutVars>
          <dgm:dir/>
          <dgm:animLvl val="lvl"/>
          <dgm:resizeHandles val="exact"/>
        </dgm:presLayoutVars>
      </dgm:prSet>
      <dgm:spPr/>
    </dgm:pt>
    <dgm:pt modelId="{517913D7-6CDC-4806-BF80-1A1A6EE45152}" type="pres">
      <dgm:prSet presAssocID="{E0B441C5-AE5B-4CF0-BAAD-8ADE7EC1F6F8}" presName="composite" presStyleCnt="0"/>
      <dgm:spPr/>
    </dgm:pt>
    <dgm:pt modelId="{D884F48A-9525-4C22-8F2A-BA2C6ABD8029}" type="pres">
      <dgm:prSet presAssocID="{E0B441C5-AE5B-4CF0-BAAD-8ADE7EC1F6F8}" presName="parentText" presStyleLbl="alignNode1" presStyleIdx="0" presStyleCnt="3">
        <dgm:presLayoutVars>
          <dgm:chMax val="1"/>
          <dgm:bulletEnabled val="1"/>
        </dgm:presLayoutVars>
      </dgm:prSet>
      <dgm:spPr/>
    </dgm:pt>
    <dgm:pt modelId="{4A90C877-0315-4D5E-9F8D-85805FEDD18E}" type="pres">
      <dgm:prSet presAssocID="{E0B441C5-AE5B-4CF0-BAAD-8ADE7EC1F6F8}" presName="descendantText" presStyleLbl="alignAcc1" presStyleIdx="0" presStyleCnt="3">
        <dgm:presLayoutVars>
          <dgm:bulletEnabled val="1"/>
        </dgm:presLayoutVars>
      </dgm:prSet>
      <dgm:spPr/>
    </dgm:pt>
    <dgm:pt modelId="{65FDB644-AE32-4190-9F13-7574D9F41D92}" type="pres">
      <dgm:prSet presAssocID="{56515670-E3E2-4143-9992-0FAEFC226FF4}" presName="sp" presStyleCnt="0"/>
      <dgm:spPr/>
    </dgm:pt>
    <dgm:pt modelId="{26A1B560-67A8-4EB5-96C2-93E4722ABBD1}" type="pres">
      <dgm:prSet presAssocID="{FEE26A3F-E5BC-4D1A-98C7-0D1B6D6244D3}" presName="composite" presStyleCnt="0"/>
      <dgm:spPr/>
    </dgm:pt>
    <dgm:pt modelId="{5243C3D5-1CCC-4D8C-BA97-1FC286302A90}" type="pres">
      <dgm:prSet presAssocID="{FEE26A3F-E5BC-4D1A-98C7-0D1B6D6244D3}" presName="parentText" presStyleLbl="alignNode1" presStyleIdx="1" presStyleCnt="3">
        <dgm:presLayoutVars>
          <dgm:chMax val="1"/>
          <dgm:bulletEnabled val="1"/>
        </dgm:presLayoutVars>
      </dgm:prSet>
      <dgm:spPr/>
    </dgm:pt>
    <dgm:pt modelId="{82AD9CBE-3857-4DFF-AEBC-0B64BE96D1D0}" type="pres">
      <dgm:prSet presAssocID="{FEE26A3F-E5BC-4D1A-98C7-0D1B6D6244D3}" presName="descendantText" presStyleLbl="alignAcc1" presStyleIdx="1" presStyleCnt="3">
        <dgm:presLayoutVars>
          <dgm:bulletEnabled val="1"/>
        </dgm:presLayoutVars>
      </dgm:prSet>
      <dgm:spPr/>
    </dgm:pt>
    <dgm:pt modelId="{6DA3E00E-369F-45A7-9394-A6D4A3A4145F}" type="pres">
      <dgm:prSet presAssocID="{DDB88AC1-5374-4729-AD38-2D60E2558E42}" presName="sp" presStyleCnt="0"/>
      <dgm:spPr/>
    </dgm:pt>
    <dgm:pt modelId="{26DF4052-6BC1-4E76-B91B-80A80BABFDF5}" type="pres">
      <dgm:prSet presAssocID="{0E4FE4EE-9E6C-433D-897F-A4D9AF1B488C}" presName="composite" presStyleCnt="0"/>
      <dgm:spPr/>
    </dgm:pt>
    <dgm:pt modelId="{B646B2F1-5B9E-460E-81F3-B3479E9D7582}" type="pres">
      <dgm:prSet presAssocID="{0E4FE4EE-9E6C-433D-897F-A4D9AF1B488C}" presName="parentText" presStyleLbl="alignNode1" presStyleIdx="2" presStyleCnt="3">
        <dgm:presLayoutVars>
          <dgm:chMax val="1"/>
          <dgm:bulletEnabled val="1"/>
        </dgm:presLayoutVars>
      </dgm:prSet>
      <dgm:spPr/>
    </dgm:pt>
    <dgm:pt modelId="{17836E82-A1E4-48CE-8228-C416BD60F636}" type="pres">
      <dgm:prSet presAssocID="{0E4FE4EE-9E6C-433D-897F-A4D9AF1B488C}" presName="descendantText" presStyleLbl="alignAcc1" presStyleIdx="2" presStyleCnt="3">
        <dgm:presLayoutVars>
          <dgm:bulletEnabled val="1"/>
        </dgm:presLayoutVars>
      </dgm:prSet>
      <dgm:spPr/>
    </dgm:pt>
  </dgm:ptLst>
  <dgm:cxnLst>
    <dgm:cxn modelId="{1E744A19-F58D-45CB-A9FA-8745F18DAA6F}" type="presOf" srcId="{9CC0A743-864C-4C4C-A6F5-353DEF64D166}" destId="{EC5294B2-8A9E-4095-8BB0-C134E7A4D1BD}" srcOrd="0" destOrd="0" presId="urn:microsoft.com/office/officeart/2005/8/layout/chevron2"/>
    <dgm:cxn modelId="{39D1821B-47C4-4222-BF44-7D84B93784DD}" srcId="{9CC0A743-864C-4C4C-A6F5-353DEF64D166}" destId="{FEE26A3F-E5BC-4D1A-98C7-0D1B6D6244D3}" srcOrd="1" destOrd="0" parTransId="{4C0B5F0D-AB36-413F-9A99-02C9E440448F}" sibTransId="{DDB88AC1-5374-4729-AD38-2D60E2558E42}"/>
    <dgm:cxn modelId="{E12A0122-A73E-470F-A1D3-D153C5AF1D8D}" type="presOf" srcId="{05581BE4-F654-4D16-82E8-DB5D0797DBA0}" destId="{4A90C877-0315-4D5E-9F8D-85805FEDD18E}" srcOrd="0" destOrd="0" presId="urn:microsoft.com/office/officeart/2005/8/layout/chevron2"/>
    <dgm:cxn modelId="{A872D029-D6E7-4EDE-A688-B04D363C273D}" srcId="{9CC0A743-864C-4C4C-A6F5-353DEF64D166}" destId="{0E4FE4EE-9E6C-433D-897F-A4D9AF1B488C}" srcOrd="2" destOrd="0" parTransId="{7B5DEB15-40A1-41C2-BB9A-E1A42A7F0F12}" sibTransId="{9F79BB6A-28EE-4337-A170-D69C8E33000C}"/>
    <dgm:cxn modelId="{5349712C-88E0-4FBC-8DB0-B38D25652123}" srcId="{E0B441C5-AE5B-4CF0-BAAD-8ADE7EC1F6F8}" destId="{05581BE4-F654-4D16-82E8-DB5D0797DBA0}" srcOrd="0" destOrd="0" parTransId="{97CEAB7B-E479-411C-B44E-FBD370C18845}" sibTransId="{8C9ED9C4-EC1A-4198-A6B7-2CC7B99E9E05}"/>
    <dgm:cxn modelId="{A093B337-C641-4F6D-8FCA-452703A83622}" type="presOf" srcId="{34A6E52F-823A-4327-8377-DBF51BA0B3E1}" destId="{82AD9CBE-3857-4DFF-AEBC-0B64BE96D1D0}" srcOrd="0" destOrd="0" presId="urn:microsoft.com/office/officeart/2005/8/layout/chevron2"/>
    <dgm:cxn modelId="{CB2B0242-5743-4DD0-89BA-5F9451E5A9A0}" srcId="{FEE26A3F-E5BC-4D1A-98C7-0D1B6D6244D3}" destId="{34A6E52F-823A-4327-8377-DBF51BA0B3E1}" srcOrd="0" destOrd="0" parTransId="{769255D6-6751-4776-8ED6-DA44DAD25028}" sibTransId="{8A508888-D8E4-4F0F-A1C8-5B1C533CA2E1}"/>
    <dgm:cxn modelId="{3B2F6355-A7D8-423B-955D-02B676752AC1}" type="presOf" srcId="{FEE26A3F-E5BC-4D1A-98C7-0D1B6D6244D3}" destId="{5243C3D5-1CCC-4D8C-BA97-1FC286302A90}" srcOrd="0" destOrd="0" presId="urn:microsoft.com/office/officeart/2005/8/layout/chevron2"/>
    <dgm:cxn modelId="{AB900E83-1842-44D6-9C19-7A8D039F1093}" type="presOf" srcId="{4AA5E754-49A3-4134-9DB2-E2EDE3C4717B}" destId="{17836E82-A1E4-48CE-8228-C416BD60F636}" srcOrd="0" destOrd="0" presId="urn:microsoft.com/office/officeart/2005/8/layout/chevron2"/>
    <dgm:cxn modelId="{212C2FA2-1FD0-4F14-A1A6-53E243766A6B}" type="presOf" srcId="{E0B441C5-AE5B-4CF0-BAAD-8ADE7EC1F6F8}" destId="{D884F48A-9525-4C22-8F2A-BA2C6ABD8029}" srcOrd="0" destOrd="0" presId="urn:microsoft.com/office/officeart/2005/8/layout/chevron2"/>
    <dgm:cxn modelId="{9382ECB9-3EE5-44D1-93B3-87075BB9866B}" type="presOf" srcId="{0E4FE4EE-9E6C-433D-897F-A4D9AF1B488C}" destId="{B646B2F1-5B9E-460E-81F3-B3479E9D7582}" srcOrd="0" destOrd="0" presId="urn:microsoft.com/office/officeart/2005/8/layout/chevron2"/>
    <dgm:cxn modelId="{EAC0DCC0-8AF6-4493-B7BA-EE4C1888266E}" srcId="{0E4FE4EE-9E6C-433D-897F-A4D9AF1B488C}" destId="{4AA5E754-49A3-4134-9DB2-E2EDE3C4717B}" srcOrd="0" destOrd="0" parTransId="{986F2C85-3432-42A7-AFD0-CF9ACB1A98EB}" sibTransId="{DF9E1A2C-DA21-44E2-A0BC-B299A9D3AC77}"/>
    <dgm:cxn modelId="{D6D0A3F0-CCF3-439D-90E4-9FC873536086}" srcId="{9CC0A743-864C-4C4C-A6F5-353DEF64D166}" destId="{E0B441C5-AE5B-4CF0-BAAD-8ADE7EC1F6F8}" srcOrd="0" destOrd="0" parTransId="{3BC5C37D-0D82-41A8-BC9A-C334370D4611}" sibTransId="{56515670-E3E2-4143-9992-0FAEFC226FF4}"/>
    <dgm:cxn modelId="{AED712B6-590D-4624-A38B-98E8B27D46B3}" type="presParOf" srcId="{EC5294B2-8A9E-4095-8BB0-C134E7A4D1BD}" destId="{517913D7-6CDC-4806-BF80-1A1A6EE45152}" srcOrd="0" destOrd="0" presId="urn:microsoft.com/office/officeart/2005/8/layout/chevron2"/>
    <dgm:cxn modelId="{2AFAA514-5AD5-4800-B2CD-94B0C8F03920}" type="presParOf" srcId="{517913D7-6CDC-4806-BF80-1A1A6EE45152}" destId="{D884F48A-9525-4C22-8F2A-BA2C6ABD8029}" srcOrd="0" destOrd="0" presId="urn:microsoft.com/office/officeart/2005/8/layout/chevron2"/>
    <dgm:cxn modelId="{4C93466D-704B-438C-AA59-DCB7A10DDE6D}" type="presParOf" srcId="{517913D7-6CDC-4806-BF80-1A1A6EE45152}" destId="{4A90C877-0315-4D5E-9F8D-85805FEDD18E}" srcOrd="1" destOrd="0" presId="urn:microsoft.com/office/officeart/2005/8/layout/chevron2"/>
    <dgm:cxn modelId="{AC60E3E4-BC5B-4191-A299-F51FF5896DAE}" type="presParOf" srcId="{EC5294B2-8A9E-4095-8BB0-C134E7A4D1BD}" destId="{65FDB644-AE32-4190-9F13-7574D9F41D92}" srcOrd="1" destOrd="0" presId="urn:microsoft.com/office/officeart/2005/8/layout/chevron2"/>
    <dgm:cxn modelId="{32756978-B9C6-43AD-BDFB-E7692E6DF0DC}" type="presParOf" srcId="{EC5294B2-8A9E-4095-8BB0-C134E7A4D1BD}" destId="{26A1B560-67A8-4EB5-96C2-93E4722ABBD1}" srcOrd="2" destOrd="0" presId="urn:microsoft.com/office/officeart/2005/8/layout/chevron2"/>
    <dgm:cxn modelId="{F77324E5-7ABF-429C-9182-D9F65749E1E5}" type="presParOf" srcId="{26A1B560-67A8-4EB5-96C2-93E4722ABBD1}" destId="{5243C3D5-1CCC-4D8C-BA97-1FC286302A90}" srcOrd="0" destOrd="0" presId="urn:microsoft.com/office/officeart/2005/8/layout/chevron2"/>
    <dgm:cxn modelId="{D2FC9F29-5162-4FF7-82BB-085B9F140670}" type="presParOf" srcId="{26A1B560-67A8-4EB5-96C2-93E4722ABBD1}" destId="{82AD9CBE-3857-4DFF-AEBC-0B64BE96D1D0}" srcOrd="1" destOrd="0" presId="urn:microsoft.com/office/officeart/2005/8/layout/chevron2"/>
    <dgm:cxn modelId="{2D72218A-0D36-4AFE-8BDF-A386C2888CAE}" type="presParOf" srcId="{EC5294B2-8A9E-4095-8BB0-C134E7A4D1BD}" destId="{6DA3E00E-369F-45A7-9394-A6D4A3A4145F}" srcOrd="3" destOrd="0" presId="urn:microsoft.com/office/officeart/2005/8/layout/chevron2"/>
    <dgm:cxn modelId="{FD6721F3-10C0-4841-A10C-E506EE4DD6A4}" type="presParOf" srcId="{EC5294B2-8A9E-4095-8BB0-C134E7A4D1BD}" destId="{26DF4052-6BC1-4E76-B91B-80A80BABFDF5}" srcOrd="4" destOrd="0" presId="urn:microsoft.com/office/officeart/2005/8/layout/chevron2"/>
    <dgm:cxn modelId="{7516D3E4-E6A6-43E5-AAF1-0770BFEBD1CD}" type="presParOf" srcId="{26DF4052-6BC1-4E76-B91B-80A80BABFDF5}" destId="{B646B2F1-5B9E-460E-81F3-B3479E9D7582}" srcOrd="0" destOrd="0" presId="urn:microsoft.com/office/officeart/2005/8/layout/chevron2"/>
    <dgm:cxn modelId="{8A141DDB-2F48-4A57-B641-307D445346D7}" type="presParOf" srcId="{26DF4052-6BC1-4E76-B91B-80A80BABFDF5}" destId="{17836E82-A1E4-48CE-8228-C416BD60F636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43.xml><?xml version="1.0" encoding="utf-8"?>
<dgm:dataModel xmlns:dgm="http://schemas.openxmlformats.org/drawingml/2006/diagram" xmlns:a="http://schemas.openxmlformats.org/drawingml/2006/main">
  <dgm:ptLst>
    <dgm:pt modelId="{CD26F62B-22A9-497B-AFBA-C7EC9DBAB4F6}" type="doc">
      <dgm:prSet loTypeId="urn:microsoft.com/office/officeart/2005/8/layout/lProcess1" loCatId="process" qsTypeId="urn:microsoft.com/office/officeart/2005/8/quickstyle/simple2" qsCatId="simple" csTypeId="urn:microsoft.com/office/officeart/2005/8/colors/accent1_4" csCatId="accent1" phldr="1"/>
      <dgm:spPr/>
      <dgm:t>
        <a:bodyPr/>
        <a:lstStyle/>
        <a:p>
          <a:endParaRPr lang="pt-BR"/>
        </a:p>
      </dgm:t>
    </dgm:pt>
    <dgm:pt modelId="{39B78235-6B49-481E-8A69-A43D605BE618}" type="pres">
      <dgm:prSet presAssocID="{CD26F62B-22A9-497B-AFBA-C7EC9DBAB4F6}" presName="Name0" presStyleCnt="0">
        <dgm:presLayoutVars>
          <dgm:dir/>
          <dgm:animLvl val="lvl"/>
          <dgm:resizeHandles val="exact"/>
        </dgm:presLayoutVars>
      </dgm:prSet>
      <dgm:spPr/>
    </dgm:pt>
  </dgm:ptLst>
  <dgm:cxnLst>
    <dgm:cxn modelId="{44668E80-43FA-4034-B1D0-C4F2C2687711}" type="presOf" srcId="{CD26F62B-22A9-497B-AFBA-C7EC9DBAB4F6}" destId="{39B78235-6B49-481E-8A69-A43D605BE618}" srcOrd="0" destOrd="0" presId="urn:microsoft.com/office/officeart/2005/8/layout/l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4.xml><?xml version="1.0" encoding="utf-8"?>
<dgm:dataModel xmlns:dgm="http://schemas.openxmlformats.org/drawingml/2006/diagram" xmlns:a="http://schemas.openxmlformats.org/drawingml/2006/main">
  <dgm:ptLst>
    <dgm:pt modelId="{CD26F62B-22A9-497B-AFBA-C7EC9DBAB4F6}" type="doc">
      <dgm:prSet loTypeId="urn:microsoft.com/office/officeart/2005/8/layout/lProcess1" loCatId="process" qsTypeId="urn:microsoft.com/office/officeart/2005/8/quickstyle/simple2" qsCatId="simple" csTypeId="urn:microsoft.com/office/officeart/2005/8/colors/accent1_4" csCatId="accent1" phldr="1"/>
      <dgm:spPr/>
      <dgm:t>
        <a:bodyPr/>
        <a:lstStyle/>
        <a:p>
          <a:endParaRPr lang="pt-BR"/>
        </a:p>
      </dgm:t>
    </dgm:pt>
    <dgm:pt modelId="{A3BBE326-1ACD-45FC-B2B6-96F8507E3681}">
      <dgm:prSet phldrT="[Texto]" custT="1"/>
      <dgm:spPr/>
      <dgm:t>
        <a:bodyPr/>
        <a:lstStyle/>
        <a:p>
          <a:r>
            <a:rPr lang="pt-BR" sz="2000" b="0" dirty="0"/>
            <a:t>Prazo</a:t>
          </a:r>
        </a:p>
      </dgm:t>
    </dgm:pt>
    <dgm:pt modelId="{38B734E4-7942-48C5-9E85-16001B0E2C71}" type="sibTrans" cxnId="{A706D507-B7A6-4C4A-9331-126227F6C043}">
      <dgm:prSet/>
      <dgm:spPr/>
      <dgm:t>
        <a:bodyPr/>
        <a:lstStyle/>
        <a:p>
          <a:endParaRPr lang="pt-BR"/>
        </a:p>
      </dgm:t>
    </dgm:pt>
    <dgm:pt modelId="{D039B0C1-A461-47DA-BA15-10C8A5F1EC58}" type="parTrans" cxnId="{A706D507-B7A6-4C4A-9331-126227F6C043}">
      <dgm:prSet/>
      <dgm:spPr/>
      <dgm:t>
        <a:bodyPr/>
        <a:lstStyle/>
        <a:p>
          <a:endParaRPr lang="pt-BR"/>
        </a:p>
      </dgm:t>
    </dgm:pt>
    <dgm:pt modelId="{39B78235-6B49-481E-8A69-A43D605BE618}" type="pres">
      <dgm:prSet presAssocID="{CD26F62B-22A9-497B-AFBA-C7EC9DBAB4F6}" presName="Name0" presStyleCnt="0">
        <dgm:presLayoutVars>
          <dgm:dir/>
          <dgm:animLvl val="lvl"/>
          <dgm:resizeHandles val="exact"/>
        </dgm:presLayoutVars>
      </dgm:prSet>
      <dgm:spPr/>
    </dgm:pt>
    <dgm:pt modelId="{BFB50B95-6C9B-4A8A-BCB8-A290DDEC30FF}" type="pres">
      <dgm:prSet presAssocID="{A3BBE326-1ACD-45FC-B2B6-96F8507E3681}" presName="vertFlow" presStyleCnt="0"/>
      <dgm:spPr/>
    </dgm:pt>
    <dgm:pt modelId="{73025F19-DEDA-41B3-B79C-D4BF8DC81D3C}" type="pres">
      <dgm:prSet presAssocID="{A3BBE326-1ACD-45FC-B2B6-96F8507E3681}" presName="header" presStyleLbl="node1" presStyleIdx="0" presStyleCnt="1" custAng="10800000" custFlipVert="1" custScaleX="130537" custScaleY="62953" custLinFactNeighborX="-7996" custLinFactNeighborY="-20484"/>
      <dgm:spPr/>
    </dgm:pt>
  </dgm:ptLst>
  <dgm:cxnLst>
    <dgm:cxn modelId="{A706D507-B7A6-4C4A-9331-126227F6C043}" srcId="{CD26F62B-22A9-497B-AFBA-C7EC9DBAB4F6}" destId="{A3BBE326-1ACD-45FC-B2B6-96F8507E3681}" srcOrd="0" destOrd="0" parTransId="{D039B0C1-A461-47DA-BA15-10C8A5F1EC58}" sibTransId="{38B734E4-7942-48C5-9E85-16001B0E2C71}"/>
    <dgm:cxn modelId="{42927A6F-E278-4BB4-8A80-A11435A51BF1}" type="presOf" srcId="{A3BBE326-1ACD-45FC-B2B6-96F8507E3681}" destId="{73025F19-DEDA-41B3-B79C-D4BF8DC81D3C}" srcOrd="0" destOrd="0" presId="urn:microsoft.com/office/officeart/2005/8/layout/lProcess1"/>
    <dgm:cxn modelId="{44668E80-43FA-4034-B1D0-C4F2C2687711}" type="presOf" srcId="{CD26F62B-22A9-497B-AFBA-C7EC9DBAB4F6}" destId="{39B78235-6B49-481E-8A69-A43D605BE618}" srcOrd="0" destOrd="0" presId="urn:microsoft.com/office/officeart/2005/8/layout/lProcess1"/>
    <dgm:cxn modelId="{41F6FE91-EF8C-4C7C-BDE3-4B92C0D01CDF}" type="presParOf" srcId="{39B78235-6B49-481E-8A69-A43D605BE618}" destId="{BFB50B95-6C9B-4A8A-BCB8-A290DDEC30FF}" srcOrd="0" destOrd="0" presId="urn:microsoft.com/office/officeart/2005/8/layout/lProcess1"/>
    <dgm:cxn modelId="{23E91C97-90AA-4776-88AF-B15EBA17BB6A}" type="presParOf" srcId="{BFB50B95-6C9B-4A8A-BCB8-A290DDEC30FF}" destId="{73025F19-DEDA-41B3-B79C-D4BF8DC81D3C}" srcOrd="0" destOrd="0" presId="urn:microsoft.com/office/officeart/2005/8/layout/lProcess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C806F39-2F4B-4154-A256-B65325C5E06C}" type="doc">
      <dgm:prSet loTypeId="urn:microsoft.com/office/officeart/2005/8/layout/hierarchy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75B076EF-61F5-46B8-9E0E-81AA32211109}">
      <dgm:prSet phldrT="[Texto]"/>
      <dgm:spPr/>
      <dgm:t>
        <a:bodyPr/>
        <a:lstStyle/>
        <a:p>
          <a:r>
            <a:rPr lang="pt-BR" dirty="0"/>
            <a:t>Dimensões</a:t>
          </a:r>
        </a:p>
      </dgm:t>
    </dgm:pt>
    <dgm:pt modelId="{73ACF036-F42D-485F-8DF9-6455A660F7B6}" type="parTrans" cxnId="{6E83B0D1-81C6-4355-8D8B-7FDA5B74BA34}">
      <dgm:prSet/>
      <dgm:spPr/>
      <dgm:t>
        <a:bodyPr/>
        <a:lstStyle/>
        <a:p>
          <a:endParaRPr lang="pt-BR"/>
        </a:p>
      </dgm:t>
    </dgm:pt>
    <dgm:pt modelId="{7BB3F64B-CEBD-48A2-A30A-488185ED18A6}" type="sibTrans" cxnId="{6E83B0D1-81C6-4355-8D8B-7FDA5B74BA34}">
      <dgm:prSet/>
      <dgm:spPr/>
      <dgm:t>
        <a:bodyPr/>
        <a:lstStyle/>
        <a:p>
          <a:endParaRPr lang="pt-BR"/>
        </a:p>
      </dgm:t>
    </dgm:pt>
    <dgm:pt modelId="{6820C932-CFD9-4EED-8FCC-F473AB95DCE8}">
      <dgm:prSet phldrT="[Texto]"/>
      <dgm:spPr/>
      <dgm:t>
        <a:bodyPr/>
        <a:lstStyle/>
        <a:p>
          <a:r>
            <a:rPr lang="pt-BR" dirty="0"/>
            <a:t>Ambiente Regulatório</a:t>
          </a:r>
        </a:p>
      </dgm:t>
    </dgm:pt>
    <dgm:pt modelId="{09D4D84D-FA0B-46B5-B5A1-C47311002BC2}" type="parTrans" cxnId="{9FCC9304-8F85-4443-998E-BF7F8824AC86}">
      <dgm:prSet/>
      <dgm:spPr/>
      <dgm:t>
        <a:bodyPr/>
        <a:lstStyle/>
        <a:p>
          <a:endParaRPr lang="pt-BR"/>
        </a:p>
      </dgm:t>
    </dgm:pt>
    <dgm:pt modelId="{077CB057-3225-496B-B3A0-772620F4C82D}" type="sibTrans" cxnId="{9FCC9304-8F85-4443-998E-BF7F8824AC86}">
      <dgm:prSet/>
      <dgm:spPr/>
      <dgm:t>
        <a:bodyPr/>
        <a:lstStyle/>
        <a:p>
          <a:endParaRPr lang="pt-BR"/>
        </a:p>
      </dgm:t>
    </dgm:pt>
    <dgm:pt modelId="{12BC1901-51A3-4765-87A9-EA199FFF4765}">
      <dgm:prSet phldrT="[Texto]"/>
      <dgm:spPr>
        <a:blipFill rotWithShape="0">
          <a:blip xmlns:r="http://schemas.openxmlformats.org/officeDocument/2006/relationships" r:embed="rId1"/>
          <a:srcRect/>
          <a:stretch>
            <a:fillRect l="-59000" r="-59000"/>
          </a:stretch>
        </a:blipFill>
      </dgm:spPr>
      <dgm:t>
        <a:bodyPr/>
        <a:lstStyle/>
        <a:p>
          <a:r>
            <a:rPr lang="pt-BR" dirty="0"/>
            <a:t>Regulação Técnica</a:t>
          </a:r>
        </a:p>
      </dgm:t>
    </dgm:pt>
    <dgm:pt modelId="{070D0746-ADDF-4EBD-AD7C-D52F3CAC7A48}" type="parTrans" cxnId="{F27036DD-8204-409B-B04F-261C886D7200}">
      <dgm:prSet/>
      <dgm:spPr/>
      <dgm:t>
        <a:bodyPr/>
        <a:lstStyle/>
        <a:p>
          <a:endParaRPr lang="pt-BR"/>
        </a:p>
      </dgm:t>
    </dgm:pt>
    <dgm:pt modelId="{C7C8F9EA-497B-4753-BCED-B7F841E2164D}" type="sibTrans" cxnId="{F27036DD-8204-409B-B04F-261C886D7200}">
      <dgm:prSet/>
      <dgm:spPr/>
      <dgm:t>
        <a:bodyPr/>
        <a:lstStyle/>
        <a:p>
          <a:endParaRPr lang="pt-BR"/>
        </a:p>
      </dgm:t>
    </dgm:pt>
    <dgm:pt modelId="{4E8DC310-278E-4656-856C-27EAC409CFD2}">
      <dgm:prSet phldrT="[Texto]"/>
      <dgm:spPr>
        <a:blipFill rotWithShape="0">
          <a:blip xmlns:r="http://schemas.openxmlformats.org/officeDocument/2006/relationships" r:embed="rId1"/>
          <a:srcRect/>
          <a:stretch>
            <a:fillRect l="-59000" r="-59000"/>
          </a:stretch>
        </a:blipFill>
      </dgm:spPr>
      <dgm:t>
        <a:bodyPr/>
        <a:lstStyle/>
        <a:p>
          <a:r>
            <a:rPr lang="pt-BR" dirty="0"/>
            <a:t>Regulação Econômica</a:t>
          </a:r>
        </a:p>
      </dgm:t>
    </dgm:pt>
    <dgm:pt modelId="{E5DCFFE7-1FB9-46A3-8229-D99F270D3A04}" type="parTrans" cxnId="{194C9260-A962-44DC-9299-6F4E302F578C}">
      <dgm:prSet/>
      <dgm:spPr/>
      <dgm:t>
        <a:bodyPr/>
        <a:lstStyle/>
        <a:p>
          <a:endParaRPr lang="pt-BR"/>
        </a:p>
      </dgm:t>
    </dgm:pt>
    <dgm:pt modelId="{0F6C001F-D543-4922-AAB5-4F32B9C81D2F}" type="sibTrans" cxnId="{194C9260-A962-44DC-9299-6F4E302F578C}">
      <dgm:prSet/>
      <dgm:spPr/>
      <dgm:t>
        <a:bodyPr/>
        <a:lstStyle/>
        <a:p>
          <a:endParaRPr lang="pt-BR"/>
        </a:p>
      </dgm:t>
    </dgm:pt>
    <dgm:pt modelId="{617C1826-8ECB-493D-B643-4A1A85D5F2D3}">
      <dgm:prSet phldrT="[Texto]"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r>
            <a:rPr lang="pt-BR" b="1" dirty="0"/>
            <a:t>Regulamentação</a:t>
          </a:r>
        </a:p>
      </dgm:t>
    </dgm:pt>
    <dgm:pt modelId="{9BB2CB2D-7CB7-4AE6-AFFA-80833070E4D0}" type="parTrans" cxnId="{E814E436-5AC5-4CEB-B51E-CE3887318C53}">
      <dgm:prSet/>
      <dgm:spPr/>
      <dgm:t>
        <a:bodyPr/>
        <a:lstStyle/>
        <a:p>
          <a:endParaRPr lang="pt-BR"/>
        </a:p>
      </dgm:t>
    </dgm:pt>
    <dgm:pt modelId="{1134A055-A852-45C4-85C0-824AE25B4C7F}" type="sibTrans" cxnId="{E814E436-5AC5-4CEB-B51E-CE3887318C53}">
      <dgm:prSet/>
      <dgm:spPr/>
      <dgm:t>
        <a:bodyPr/>
        <a:lstStyle/>
        <a:p>
          <a:endParaRPr lang="pt-BR"/>
        </a:p>
      </dgm:t>
    </dgm:pt>
    <dgm:pt modelId="{946A0D2E-7322-4F88-99B1-D6A0009682D1}">
      <dgm:prSet phldrT="[Texto]"/>
      <dgm:spPr>
        <a:blipFill rotWithShape="0">
          <a:blip xmlns:r="http://schemas.openxmlformats.org/officeDocument/2006/relationships" r:embed="rId1"/>
          <a:srcRect/>
          <a:stretch>
            <a:fillRect l="-59000" r="-59000"/>
          </a:stretch>
        </a:blipFill>
      </dgm:spPr>
      <dgm:t>
        <a:bodyPr/>
        <a:lstStyle/>
        <a:p>
          <a:r>
            <a:rPr lang="pt-BR" dirty="0"/>
            <a:t>Planejamento da Fiscalização</a:t>
          </a:r>
        </a:p>
      </dgm:t>
    </dgm:pt>
    <dgm:pt modelId="{E81FF7F2-412A-4095-81DE-BD2FF2700DF5}" type="parTrans" cxnId="{31222757-7F61-40CB-B645-79A04262C21E}">
      <dgm:prSet/>
      <dgm:spPr/>
      <dgm:t>
        <a:bodyPr/>
        <a:lstStyle/>
        <a:p>
          <a:endParaRPr lang="pt-BR"/>
        </a:p>
      </dgm:t>
    </dgm:pt>
    <dgm:pt modelId="{6641A368-58F9-4AAE-9116-DE63520CF94C}" type="sibTrans" cxnId="{31222757-7F61-40CB-B645-79A04262C21E}">
      <dgm:prSet/>
      <dgm:spPr/>
      <dgm:t>
        <a:bodyPr/>
        <a:lstStyle/>
        <a:p>
          <a:endParaRPr lang="pt-BR"/>
        </a:p>
      </dgm:t>
    </dgm:pt>
    <dgm:pt modelId="{543660AE-4BA7-4A7D-91D6-C4D05BBC09CF}">
      <dgm:prSet phldrT="[Texto]"/>
      <dgm:spPr>
        <a:blipFill rotWithShape="0">
          <a:blip xmlns:r="http://schemas.openxmlformats.org/officeDocument/2006/relationships" r:embed="rId1"/>
          <a:srcRect/>
          <a:stretch>
            <a:fillRect l="-59000" r="-59000"/>
          </a:stretch>
        </a:blipFill>
      </dgm:spPr>
      <dgm:t>
        <a:bodyPr/>
        <a:lstStyle/>
        <a:p>
          <a:r>
            <a:rPr lang="pt-BR" dirty="0"/>
            <a:t>Execução da Fiscalização</a:t>
          </a:r>
        </a:p>
      </dgm:t>
    </dgm:pt>
    <dgm:pt modelId="{6F6AD846-2679-49C8-9541-C7976AF431AD}" type="parTrans" cxnId="{23AABB61-7A4F-4630-86E6-D73F661B9B24}">
      <dgm:prSet/>
      <dgm:spPr/>
      <dgm:t>
        <a:bodyPr/>
        <a:lstStyle/>
        <a:p>
          <a:endParaRPr lang="pt-BR"/>
        </a:p>
      </dgm:t>
    </dgm:pt>
    <dgm:pt modelId="{A16CFA1F-A0F6-40D0-88B8-F6A896C6DD49}" type="sibTrans" cxnId="{23AABB61-7A4F-4630-86E6-D73F661B9B24}">
      <dgm:prSet/>
      <dgm:spPr/>
      <dgm:t>
        <a:bodyPr/>
        <a:lstStyle/>
        <a:p>
          <a:endParaRPr lang="pt-BR"/>
        </a:p>
      </dgm:t>
    </dgm:pt>
    <dgm:pt modelId="{165F83AF-D3CF-4951-B598-D76F25A17AA7}" type="pres">
      <dgm:prSet presAssocID="{EC806F39-2F4B-4154-A256-B65325C5E06C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B5120B2D-7301-4992-954F-7E8DADF9D261}" type="pres">
      <dgm:prSet presAssocID="{75B076EF-61F5-46B8-9E0E-81AA32211109}" presName="root" presStyleCnt="0"/>
      <dgm:spPr/>
    </dgm:pt>
    <dgm:pt modelId="{7A11F1E0-ADA6-4754-9629-E122A1C00173}" type="pres">
      <dgm:prSet presAssocID="{75B076EF-61F5-46B8-9E0E-81AA32211109}" presName="rootComposite" presStyleCnt="0"/>
      <dgm:spPr/>
    </dgm:pt>
    <dgm:pt modelId="{FC72B60D-091A-42E6-ACCD-0FD3E63AE58E}" type="pres">
      <dgm:prSet presAssocID="{75B076EF-61F5-46B8-9E0E-81AA32211109}" presName="rootText" presStyleLbl="node1" presStyleIdx="0" presStyleCnt="1" custLinFactNeighborX="-37749" custLinFactNeighborY="184"/>
      <dgm:spPr/>
    </dgm:pt>
    <dgm:pt modelId="{EE59AA8F-7291-4D25-9B33-EF1643FE25AA}" type="pres">
      <dgm:prSet presAssocID="{75B076EF-61F5-46B8-9E0E-81AA32211109}" presName="rootConnector" presStyleLbl="node1" presStyleIdx="0" presStyleCnt="1"/>
      <dgm:spPr/>
    </dgm:pt>
    <dgm:pt modelId="{11A573EE-F371-4738-AEDE-F53AD1FDDE94}" type="pres">
      <dgm:prSet presAssocID="{75B076EF-61F5-46B8-9E0E-81AA32211109}" presName="childShape" presStyleCnt="0"/>
      <dgm:spPr/>
    </dgm:pt>
    <dgm:pt modelId="{D9DE3B77-5B71-476E-8E2B-F4D88872CC73}" type="pres">
      <dgm:prSet presAssocID="{09D4D84D-FA0B-46B5-B5A1-C47311002BC2}" presName="Name13" presStyleLbl="parChTrans1D2" presStyleIdx="0" presStyleCnt="6"/>
      <dgm:spPr/>
    </dgm:pt>
    <dgm:pt modelId="{1C974E15-F625-43E3-A25F-749EABB4B9C3}" type="pres">
      <dgm:prSet presAssocID="{6820C932-CFD9-4EED-8FCC-F473AB95DCE8}" presName="childText" presStyleLbl="bgAcc1" presStyleIdx="0" presStyleCnt="6">
        <dgm:presLayoutVars>
          <dgm:bulletEnabled val="1"/>
        </dgm:presLayoutVars>
      </dgm:prSet>
      <dgm:spPr/>
    </dgm:pt>
    <dgm:pt modelId="{545746D3-1B1B-4C35-9EC7-5646726D8FD2}" type="pres">
      <dgm:prSet presAssocID="{070D0746-ADDF-4EBD-AD7C-D52F3CAC7A48}" presName="Name13" presStyleLbl="parChTrans1D2" presStyleIdx="1" presStyleCnt="6"/>
      <dgm:spPr/>
    </dgm:pt>
    <dgm:pt modelId="{4231EA56-82DC-4F60-96F5-4B309CB6C1FC}" type="pres">
      <dgm:prSet presAssocID="{12BC1901-51A3-4765-87A9-EA199FFF4765}" presName="childText" presStyleLbl="bgAcc1" presStyleIdx="1" presStyleCnt="6">
        <dgm:presLayoutVars>
          <dgm:bulletEnabled val="1"/>
        </dgm:presLayoutVars>
      </dgm:prSet>
      <dgm:spPr/>
    </dgm:pt>
    <dgm:pt modelId="{AF11A134-A3B5-486D-B6DC-B1C1E2FC1D5B}" type="pres">
      <dgm:prSet presAssocID="{E5DCFFE7-1FB9-46A3-8229-D99F270D3A04}" presName="Name13" presStyleLbl="parChTrans1D2" presStyleIdx="2" presStyleCnt="6"/>
      <dgm:spPr/>
    </dgm:pt>
    <dgm:pt modelId="{856E302D-E866-409B-94E2-958693AEBD17}" type="pres">
      <dgm:prSet presAssocID="{4E8DC310-278E-4656-856C-27EAC409CFD2}" presName="childText" presStyleLbl="bgAcc1" presStyleIdx="2" presStyleCnt="6">
        <dgm:presLayoutVars>
          <dgm:bulletEnabled val="1"/>
        </dgm:presLayoutVars>
      </dgm:prSet>
      <dgm:spPr/>
    </dgm:pt>
    <dgm:pt modelId="{46360273-5A7B-4245-93DC-A2A012C6A6F9}" type="pres">
      <dgm:prSet presAssocID="{9BB2CB2D-7CB7-4AE6-AFFA-80833070E4D0}" presName="Name13" presStyleLbl="parChTrans1D2" presStyleIdx="3" presStyleCnt="6"/>
      <dgm:spPr/>
    </dgm:pt>
    <dgm:pt modelId="{DF76C988-4EB3-4BB9-B954-D4F66A9C30BD}" type="pres">
      <dgm:prSet presAssocID="{617C1826-8ECB-493D-B643-4A1A85D5F2D3}" presName="childText" presStyleLbl="bgAcc1" presStyleIdx="3" presStyleCnt="6">
        <dgm:presLayoutVars>
          <dgm:bulletEnabled val="1"/>
        </dgm:presLayoutVars>
      </dgm:prSet>
      <dgm:spPr/>
    </dgm:pt>
    <dgm:pt modelId="{6413DF7F-9FEE-45A9-96D0-0D8E6288F368}" type="pres">
      <dgm:prSet presAssocID="{E81FF7F2-412A-4095-81DE-BD2FF2700DF5}" presName="Name13" presStyleLbl="parChTrans1D2" presStyleIdx="4" presStyleCnt="6"/>
      <dgm:spPr/>
    </dgm:pt>
    <dgm:pt modelId="{528C8AE0-478C-4B58-9605-F2468736FAC3}" type="pres">
      <dgm:prSet presAssocID="{946A0D2E-7322-4F88-99B1-D6A0009682D1}" presName="childText" presStyleLbl="bgAcc1" presStyleIdx="4" presStyleCnt="6">
        <dgm:presLayoutVars>
          <dgm:bulletEnabled val="1"/>
        </dgm:presLayoutVars>
      </dgm:prSet>
      <dgm:spPr/>
    </dgm:pt>
    <dgm:pt modelId="{0F01C8E4-3DCD-4F87-8E90-D296DFA5814D}" type="pres">
      <dgm:prSet presAssocID="{6F6AD846-2679-49C8-9541-C7976AF431AD}" presName="Name13" presStyleLbl="parChTrans1D2" presStyleIdx="5" presStyleCnt="6"/>
      <dgm:spPr/>
    </dgm:pt>
    <dgm:pt modelId="{22E1B37E-7C28-4C5E-A92F-C38047C4C619}" type="pres">
      <dgm:prSet presAssocID="{543660AE-4BA7-4A7D-91D6-C4D05BBC09CF}" presName="childText" presStyleLbl="bgAcc1" presStyleIdx="5" presStyleCnt="6">
        <dgm:presLayoutVars>
          <dgm:bulletEnabled val="1"/>
        </dgm:presLayoutVars>
      </dgm:prSet>
      <dgm:spPr/>
    </dgm:pt>
  </dgm:ptLst>
  <dgm:cxnLst>
    <dgm:cxn modelId="{9FCC9304-8F85-4443-998E-BF7F8824AC86}" srcId="{75B076EF-61F5-46B8-9E0E-81AA32211109}" destId="{6820C932-CFD9-4EED-8FCC-F473AB95DCE8}" srcOrd="0" destOrd="0" parTransId="{09D4D84D-FA0B-46B5-B5A1-C47311002BC2}" sibTransId="{077CB057-3225-496B-B3A0-772620F4C82D}"/>
    <dgm:cxn modelId="{E966D10D-6A5A-4610-93E2-F73C63240F61}" type="presOf" srcId="{75B076EF-61F5-46B8-9E0E-81AA32211109}" destId="{EE59AA8F-7291-4D25-9B33-EF1643FE25AA}" srcOrd="1" destOrd="0" presId="urn:microsoft.com/office/officeart/2005/8/layout/hierarchy3"/>
    <dgm:cxn modelId="{E814E436-5AC5-4CEB-B51E-CE3887318C53}" srcId="{75B076EF-61F5-46B8-9E0E-81AA32211109}" destId="{617C1826-8ECB-493D-B643-4A1A85D5F2D3}" srcOrd="3" destOrd="0" parTransId="{9BB2CB2D-7CB7-4AE6-AFFA-80833070E4D0}" sibTransId="{1134A055-A852-45C4-85C0-824AE25B4C7F}"/>
    <dgm:cxn modelId="{2078EB5E-7F58-4DD9-9C6A-D33B77F68C2C}" type="presOf" srcId="{543660AE-4BA7-4A7D-91D6-C4D05BBC09CF}" destId="{22E1B37E-7C28-4C5E-A92F-C38047C4C619}" srcOrd="0" destOrd="0" presId="urn:microsoft.com/office/officeart/2005/8/layout/hierarchy3"/>
    <dgm:cxn modelId="{194C9260-A962-44DC-9299-6F4E302F578C}" srcId="{75B076EF-61F5-46B8-9E0E-81AA32211109}" destId="{4E8DC310-278E-4656-856C-27EAC409CFD2}" srcOrd="2" destOrd="0" parTransId="{E5DCFFE7-1FB9-46A3-8229-D99F270D3A04}" sibTransId="{0F6C001F-D543-4922-AAB5-4F32B9C81D2F}"/>
    <dgm:cxn modelId="{23AABB61-7A4F-4630-86E6-D73F661B9B24}" srcId="{75B076EF-61F5-46B8-9E0E-81AA32211109}" destId="{543660AE-4BA7-4A7D-91D6-C4D05BBC09CF}" srcOrd="5" destOrd="0" parTransId="{6F6AD846-2679-49C8-9541-C7976AF431AD}" sibTransId="{A16CFA1F-A0F6-40D0-88B8-F6A896C6DD49}"/>
    <dgm:cxn modelId="{456C3867-7D50-409D-907A-53DF37836A45}" type="presOf" srcId="{EC806F39-2F4B-4154-A256-B65325C5E06C}" destId="{165F83AF-D3CF-4951-B598-D76F25A17AA7}" srcOrd="0" destOrd="0" presId="urn:microsoft.com/office/officeart/2005/8/layout/hierarchy3"/>
    <dgm:cxn modelId="{A9F4DC4C-4EC7-42F3-8179-7D243B274E12}" type="presOf" srcId="{946A0D2E-7322-4F88-99B1-D6A0009682D1}" destId="{528C8AE0-478C-4B58-9605-F2468736FAC3}" srcOrd="0" destOrd="0" presId="urn:microsoft.com/office/officeart/2005/8/layout/hierarchy3"/>
    <dgm:cxn modelId="{31222757-7F61-40CB-B645-79A04262C21E}" srcId="{75B076EF-61F5-46B8-9E0E-81AA32211109}" destId="{946A0D2E-7322-4F88-99B1-D6A0009682D1}" srcOrd="4" destOrd="0" parTransId="{E81FF7F2-412A-4095-81DE-BD2FF2700DF5}" sibTransId="{6641A368-58F9-4AAE-9116-DE63520CF94C}"/>
    <dgm:cxn modelId="{B81BE97B-85F8-40EF-A361-A40724606C48}" type="presOf" srcId="{09D4D84D-FA0B-46B5-B5A1-C47311002BC2}" destId="{D9DE3B77-5B71-476E-8E2B-F4D88872CC73}" srcOrd="0" destOrd="0" presId="urn:microsoft.com/office/officeart/2005/8/layout/hierarchy3"/>
    <dgm:cxn modelId="{A4A0D580-62F3-47E4-970E-1EE79B9B387F}" type="presOf" srcId="{E5DCFFE7-1FB9-46A3-8229-D99F270D3A04}" destId="{AF11A134-A3B5-486D-B6DC-B1C1E2FC1D5B}" srcOrd="0" destOrd="0" presId="urn:microsoft.com/office/officeart/2005/8/layout/hierarchy3"/>
    <dgm:cxn modelId="{0819F6A2-927A-44B3-85C4-4CEF89DC0F32}" type="presOf" srcId="{070D0746-ADDF-4EBD-AD7C-D52F3CAC7A48}" destId="{545746D3-1B1B-4C35-9EC7-5646726D8FD2}" srcOrd="0" destOrd="0" presId="urn:microsoft.com/office/officeart/2005/8/layout/hierarchy3"/>
    <dgm:cxn modelId="{28D2D9B3-4F11-424B-81C6-AB1CD975F187}" type="presOf" srcId="{9BB2CB2D-7CB7-4AE6-AFFA-80833070E4D0}" destId="{46360273-5A7B-4245-93DC-A2A012C6A6F9}" srcOrd="0" destOrd="0" presId="urn:microsoft.com/office/officeart/2005/8/layout/hierarchy3"/>
    <dgm:cxn modelId="{08E98DC6-0936-4D17-876A-813D5BCF24C8}" type="presOf" srcId="{E81FF7F2-412A-4095-81DE-BD2FF2700DF5}" destId="{6413DF7F-9FEE-45A9-96D0-0D8E6288F368}" srcOrd="0" destOrd="0" presId="urn:microsoft.com/office/officeart/2005/8/layout/hierarchy3"/>
    <dgm:cxn modelId="{6E83B0D1-81C6-4355-8D8B-7FDA5B74BA34}" srcId="{EC806F39-2F4B-4154-A256-B65325C5E06C}" destId="{75B076EF-61F5-46B8-9E0E-81AA32211109}" srcOrd="0" destOrd="0" parTransId="{73ACF036-F42D-485F-8DF9-6455A660F7B6}" sibTransId="{7BB3F64B-CEBD-48A2-A30A-488185ED18A6}"/>
    <dgm:cxn modelId="{2793DADB-5E96-43E1-A045-3772587E6F67}" type="presOf" srcId="{12BC1901-51A3-4765-87A9-EA199FFF4765}" destId="{4231EA56-82DC-4F60-96F5-4B309CB6C1FC}" srcOrd="0" destOrd="0" presId="urn:microsoft.com/office/officeart/2005/8/layout/hierarchy3"/>
    <dgm:cxn modelId="{F27036DD-8204-409B-B04F-261C886D7200}" srcId="{75B076EF-61F5-46B8-9E0E-81AA32211109}" destId="{12BC1901-51A3-4765-87A9-EA199FFF4765}" srcOrd="1" destOrd="0" parTransId="{070D0746-ADDF-4EBD-AD7C-D52F3CAC7A48}" sibTransId="{C7C8F9EA-497B-4753-BCED-B7F841E2164D}"/>
    <dgm:cxn modelId="{92F83EEA-2087-45BA-B254-3390BF60216A}" type="presOf" srcId="{4E8DC310-278E-4656-856C-27EAC409CFD2}" destId="{856E302D-E866-409B-94E2-958693AEBD17}" srcOrd="0" destOrd="0" presId="urn:microsoft.com/office/officeart/2005/8/layout/hierarchy3"/>
    <dgm:cxn modelId="{4C8E61EA-FAFE-41E1-B319-F7E0B6B931A2}" type="presOf" srcId="{6820C932-CFD9-4EED-8FCC-F473AB95DCE8}" destId="{1C974E15-F625-43E3-A25F-749EABB4B9C3}" srcOrd="0" destOrd="0" presId="urn:microsoft.com/office/officeart/2005/8/layout/hierarchy3"/>
    <dgm:cxn modelId="{929A77EA-425F-49F5-8EB3-C016D62CB31D}" type="presOf" srcId="{617C1826-8ECB-493D-B643-4A1A85D5F2D3}" destId="{DF76C988-4EB3-4BB9-B954-D4F66A9C30BD}" srcOrd="0" destOrd="0" presId="urn:microsoft.com/office/officeart/2005/8/layout/hierarchy3"/>
    <dgm:cxn modelId="{9A230DEC-D418-476A-9DD8-B8EF64F3FA40}" type="presOf" srcId="{6F6AD846-2679-49C8-9541-C7976AF431AD}" destId="{0F01C8E4-3DCD-4F87-8E90-D296DFA5814D}" srcOrd="0" destOrd="0" presId="urn:microsoft.com/office/officeart/2005/8/layout/hierarchy3"/>
    <dgm:cxn modelId="{9262A5F1-CEF0-494A-A8BF-9B06582A86DD}" type="presOf" srcId="{75B076EF-61F5-46B8-9E0E-81AA32211109}" destId="{FC72B60D-091A-42E6-ACCD-0FD3E63AE58E}" srcOrd="0" destOrd="0" presId="urn:microsoft.com/office/officeart/2005/8/layout/hierarchy3"/>
    <dgm:cxn modelId="{E29F8215-4915-4BE8-AAC6-AD6D19B867F5}" type="presParOf" srcId="{165F83AF-D3CF-4951-B598-D76F25A17AA7}" destId="{B5120B2D-7301-4992-954F-7E8DADF9D261}" srcOrd="0" destOrd="0" presId="urn:microsoft.com/office/officeart/2005/8/layout/hierarchy3"/>
    <dgm:cxn modelId="{17CFDB58-E652-4BCC-B7F6-5D5FAAB79D4C}" type="presParOf" srcId="{B5120B2D-7301-4992-954F-7E8DADF9D261}" destId="{7A11F1E0-ADA6-4754-9629-E122A1C00173}" srcOrd="0" destOrd="0" presId="urn:microsoft.com/office/officeart/2005/8/layout/hierarchy3"/>
    <dgm:cxn modelId="{EC05EAC2-B084-4D21-AF07-B56488F54B36}" type="presParOf" srcId="{7A11F1E0-ADA6-4754-9629-E122A1C00173}" destId="{FC72B60D-091A-42E6-ACCD-0FD3E63AE58E}" srcOrd="0" destOrd="0" presId="urn:microsoft.com/office/officeart/2005/8/layout/hierarchy3"/>
    <dgm:cxn modelId="{0AF019BC-E289-4B48-8999-1ED927CE71BE}" type="presParOf" srcId="{7A11F1E0-ADA6-4754-9629-E122A1C00173}" destId="{EE59AA8F-7291-4D25-9B33-EF1643FE25AA}" srcOrd="1" destOrd="0" presId="urn:microsoft.com/office/officeart/2005/8/layout/hierarchy3"/>
    <dgm:cxn modelId="{E2479EA3-83AC-4015-AE7D-3F87E6D1EFD9}" type="presParOf" srcId="{B5120B2D-7301-4992-954F-7E8DADF9D261}" destId="{11A573EE-F371-4738-AEDE-F53AD1FDDE94}" srcOrd="1" destOrd="0" presId="urn:microsoft.com/office/officeart/2005/8/layout/hierarchy3"/>
    <dgm:cxn modelId="{5F4C5971-7D82-47C6-9247-B2B49F9E633F}" type="presParOf" srcId="{11A573EE-F371-4738-AEDE-F53AD1FDDE94}" destId="{D9DE3B77-5B71-476E-8E2B-F4D88872CC73}" srcOrd="0" destOrd="0" presId="urn:microsoft.com/office/officeart/2005/8/layout/hierarchy3"/>
    <dgm:cxn modelId="{CD176A4A-1C14-42C6-96EC-EA87E53AFCAF}" type="presParOf" srcId="{11A573EE-F371-4738-AEDE-F53AD1FDDE94}" destId="{1C974E15-F625-43E3-A25F-749EABB4B9C3}" srcOrd="1" destOrd="0" presId="urn:microsoft.com/office/officeart/2005/8/layout/hierarchy3"/>
    <dgm:cxn modelId="{76FBCF8F-B39B-498D-9F20-1965BF666788}" type="presParOf" srcId="{11A573EE-F371-4738-AEDE-F53AD1FDDE94}" destId="{545746D3-1B1B-4C35-9EC7-5646726D8FD2}" srcOrd="2" destOrd="0" presId="urn:microsoft.com/office/officeart/2005/8/layout/hierarchy3"/>
    <dgm:cxn modelId="{2B534E70-E3F1-469C-9108-62708FEA48BB}" type="presParOf" srcId="{11A573EE-F371-4738-AEDE-F53AD1FDDE94}" destId="{4231EA56-82DC-4F60-96F5-4B309CB6C1FC}" srcOrd="3" destOrd="0" presId="urn:microsoft.com/office/officeart/2005/8/layout/hierarchy3"/>
    <dgm:cxn modelId="{9EFB33AB-AF7B-40E6-B5B5-CF8FEEE47768}" type="presParOf" srcId="{11A573EE-F371-4738-AEDE-F53AD1FDDE94}" destId="{AF11A134-A3B5-486D-B6DC-B1C1E2FC1D5B}" srcOrd="4" destOrd="0" presId="urn:microsoft.com/office/officeart/2005/8/layout/hierarchy3"/>
    <dgm:cxn modelId="{0647527C-5EE9-42C0-862E-927B8259F097}" type="presParOf" srcId="{11A573EE-F371-4738-AEDE-F53AD1FDDE94}" destId="{856E302D-E866-409B-94E2-958693AEBD17}" srcOrd="5" destOrd="0" presId="urn:microsoft.com/office/officeart/2005/8/layout/hierarchy3"/>
    <dgm:cxn modelId="{911931F2-06AE-4F25-B863-40EE0E50D5E3}" type="presParOf" srcId="{11A573EE-F371-4738-AEDE-F53AD1FDDE94}" destId="{46360273-5A7B-4245-93DC-A2A012C6A6F9}" srcOrd="6" destOrd="0" presId="urn:microsoft.com/office/officeart/2005/8/layout/hierarchy3"/>
    <dgm:cxn modelId="{63D6B87D-D9FA-4B2A-8B75-3FD33393A350}" type="presParOf" srcId="{11A573EE-F371-4738-AEDE-F53AD1FDDE94}" destId="{DF76C988-4EB3-4BB9-B954-D4F66A9C30BD}" srcOrd="7" destOrd="0" presId="urn:microsoft.com/office/officeart/2005/8/layout/hierarchy3"/>
    <dgm:cxn modelId="{FFECD99F-2EB3-408F-860F-F5FB8DE3F6EE}" type="presParOf" srcId="{11A573EE-F371-4738-AEDE-F53AD1FDDE94}" destId="{6413DF7F-9FEE-45A9-96D0-0D8E6288F368}" srcOrd="8" destOrd="0" presId="urn:microsoft.com/office/officeart/2005/8/layout/hierarchy3"/>
    <dgm:cxn modelId="{A4939928-4572-4521-A448-1444AC3BB710}" type="presParOf" srcId="{11A573EE-F371-4738-AEDE-F53AD1FDDE94}" destId="{528C8AE0-478C-4B58-9605-F2468736FAC3}" srcOrd="9" destOrd="0" presId="urn:microsoft.com/office/officeart/2005/8/layout/hierarchy3"/>
    <dgm:cxn modelId="{54BF56CC-AEE9-4ED6-8A28-BB7B82C20516}" type="presParOf" srcId="{11A573EE-F371-4738-AEDE-F53AD1FDDE94}" destId="{0F01C8E4-3DCD-4F87-8E90-D296DFA5814D}" srcOrd="10" destOrd="0" presId="urn:microsoft.com/office/officeart/2005/8/layout/hierarchy3"/>
    <dgm:cxn modelId="{215E64AB-5452-4A85-B0C0-381639014021}" type="presParOf" srcId="{11A573EE-F371-4738-AEDE-F53AD1FDDE94}" destId="{22E1B37E-7C28-4C5E-A92F-C38047C4C619}" srcOrd="1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A3DD5F3F-0890-4318-9F5E-378954B25580}" type="doc">
      <dgm:prSet loTypeId="urn:microsoft.com/office/officeart/2005/8/layout/vList5" loCatId="list" qsTypeId="urn:microsoft.com/office/officeart/2005/8/quickstyle/3d4" qsCatId="3D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474B928F-6258-43CD-BEB6-61E486A2F382}">
      <dgm:prSet phldrT="[Texto]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pt-BR" dirty="0"/>
            <a:t>Objetivos específicos</a:t>
          </a:r>
        </a:p>
      </dgm:t>
    </dgm:pt>
    <dgm:pt modelId="{989C381B-489D-48AE-9256-DF92BAAA31C8}" type="parTrans" cxnId="{374A89F8-B5BC-4430-A0CF-E627F96A39AD}">
      <dgm:prSet/>
      <dgm:spPr/>
      <dgm:t>
        <a:bodyPr/>
        <a:lstStyle/>
        <a:p>
          <a:endParaRPr lang="pt-BR"/>
        </a:p>
      </dgm:t>
    </dgm:pt>
    <dgm:pt modelId="{BA096D4F-6ED1-4150-9A65-0488157032CC}" type="sibTrans" cxnId="{374A89F8-B5BC-4430-A0CF-E627F96A39AD}">
      <dgm:prSet/>
      <dgm:spPr/>
      <dgm:t>
        <a:bodyPr/>
        <a:lstStyle/>
        <a:p>
          <a:endParaRPr lang="pt-BR"/>
        </a:p>
      </dgm:t>
    </dgm:pt>
    <dgm:pt modelId="{6E20A63E-C267-44B3-8B35-5EF825B664FB}">
      <dgm:prSet phldrT="[Texto]" custT="1"/>
      <dgm:spPr/>
      <dgm:t>
        <a:bodyPr/>
        <a:lstStyle/>
        <a:p>
          <a:pPr>
            <a:spcAft>
              <a:spcPts val="600"/>
            </a:spcAft>
          </a:pPr>
          <a:r>
            <a:rPr lang="pt-BR" sz="1400" i="0" dirty="0"/>
            <a:t>Garantir que os custos associados à intervenção regulatória sejam justificáveis perante os benefícios gerados</a:t>
          </a:r>
        </a:p>
      </dgm:t>
    </dgm:pt>
    <dgm:pt modelId="{4DE58804-2E2A-46D4-9B3D-499D12647CE3}" type="parTrans" cxnId="{FF3EB799-3A02-4777-9032-1415984C3C40}">
      <dgm:prSet/>
      <dgm:spPr/>
      <dgm:t>
        <a:bodyPr/>
        <a:lstStyle/>
        <a:p>
          <a:endParaRPr lang="pt-BR"/>
        </a:p>
      </dgm:t>
    </dgm:pt>
    <dgm:pt modelId="{467E1415-2FA4-42A9-B606-FE5B0EAD115D}" type="sibTrans" cxnId="{FF3EB799-3A02-4777-9032-1415984C3C40}">
      <dgm:prSet/>
      <dgm:spPr/>
      <dgm:t>
        <a:bodyPr/>
        <a:lstStyle/>
        <a:p>
          <a:endParaRPr lang="pt-BR"/>
        </a:p>
      </dgm:t>
    </dgm:pt>
    <dgm:pt modelId="{A722A5A7-E13E-4724-83FC-BF44D0B86972}">
      <dgm:prSet phldrT="[Texto]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pt-BR" dirty="0"/>
            <a:t>Estratégias</a:t>
          </a:r>
        </a:p>
      </dgm:t>
    </dgm:pt>
    <dgm:pt modelId="{099F8FC2-3EA0-4B04-80A7-235ED02EB796}" type="parTrans" cxnId="{CAC131AD-27A4-4459-A084-E813421AEFA9}">
      <dgm:prSet/>
      <dgm:spPr/>
      <dgm:t>
        <a:bodyPr/>
        <a:lstStyle/>
        <a:p>
          <a:endParaRPr lang="pt-BR"/>
        </a:p>
      </dgm:t>
    </dgm:pt>
    <dgm:pt modelId="{88C81A0C-7AF3-4120-B366-C75C31349461}" type="sibTrans" cxnId="{CAC131AD-27A4-4459-A084-E813421AEFA9}">
      <dgm:prSet/>
      <dgm:spPr/>
      <dgm:t>
        <a:bodyPr/>
        <a:lstStyle/>
        <a:p>
          <a:endParaRPr lang="pt-BR"/>
        </a:p>
      </dgm:t>
    </dgm:pt>
    <dgm:pt modelId="{7914EA8A-3519-4916-8081-EAF464B7EA6B}">
      <dgm:prSet phldrT="[Texto]" custT="1"/>
      <dgm:spPr/>
      <dgm:t>
        <a:bodyPr/>
        <a:lstStyle/>
        <a:p>
          <a:pPr>
            <a:spcAft>
              <a:spcPts val="600"/>
            </a:spcAft>
          </a:pPr>
          <a:r>
            <a:rPr lang="pt-BR" sz="1400" dirty="0"/>
            <a:t>Permitir que os agentes econômicos afetados pela proposta tenham acesso a informações, motivações e referências utilizadas nos estudos</a:t>
          </a:r>
        </a:p>
      </dgm:t>
    </dgm:pt>
    <dgm:pt modelId="{752A18A5-EF6F-4759-B445-5E538998F113}" type="parTrans" cxnId="{D6204060-37A7-4764-83C6-EBE5168E3873}">
      <dgm:prSet/>
      <dgm:spPr/>
      <dgm:t>
        <a:bodyPr/>
        <a:lstStyle/>
        <a:p>
          <a:endParaRPr lang="pt-BR"/>
        </a:p>
      </dgm:t>
    </dgm:pt>
    <dgm:pt modelId="{CF2E81EA-67FD-4C91-92EB-ED6B9827C4F6}" type="sibTrans" cxnId="{D6204060-37A7-4764-83C6-EBE5168E3873}">
      <dgm:prSet/>
      <dgm:spPr/>
      <dgm:t>
        <a:bodyPr/>
        <a:lstStyle/>
        <a:p>
          <a:endParaRPr lang="pt-BR"/>
        </a:p>
      </dgm:t>
    </dgm:pt>
    <dgm:pt modelId="{5BB24C2B-4F58-4BBD-9497-4AF8A40A2DC4}">
      <dgm:prSet phldrT="[Texto]" custT="1"/>
      <dgm:spPr/>
      <dgm:t>
        <a:bodyPr/>
        <a:lstStyle/>
        <a:p>
          <a:pPr>
            <a:spcAft>
              <a:spcPts val="600"/>
            </a:spcAft>
          </a:pPr>
          <a:r>
            <a:rPr lang="pt-BR" sz="1400" dirty="0"/>
            <a:t>Promover a contínua melhoria da ação regulatória da Agência, por meio da avaliação da efetividade das intervenções realizadas</a:t>
          </a:r>
        </a:p>
      </dgm:t>
    </dgm:pt>
    <dgm:pt modelId="{3C9A18F2-AB73-40E1-A226-D60304985BBB}" type="parTrans" cxnId="{13754C08-51BF-4F71-83A6-FAA723350B12}">
      <dgm:prSet/>
      <dgm:spPr/>
      <dgm:t>
        <a:bodyPr/>
        <a:lstStyle/>
        <a:p>
          <a:endParaRPr lang="pt-BR"/>
        </a:p>
      </dgm:t>
    </dgm:pt>
    <dgm:pt modelId="{12299F66-33C8-4111-95DD-1A0679853E6D}" type="sibTrans" cxnId="{13754C08-51BF-4F71-83A6-FAA723350B12}">
      <dgm:prSet/>
      <dgm:spPr/>
      <dgm:t>
        <a:bodyPr/>
        <a:lstStyle/>
        <a:p>
          <a:endParaRPr lang="pt-BR"/>
        </a:p>
      </dgm:t>
    </dgm:pt>
    <dgm:pt modelId="{891F8B43-DC7F-4850-A45D-A24579D4FEE5}">
      <dgm:prSet phldrT="[Texto]" custT="1"/>
      <dgm:spPr/>
      <dgm:t>
        <a:bodyPr/>
        <a:lstStyle/>
        <a:p>
          <a:pPr>
            <a:spcAft>
              <a:spcPts val="600"/>
            </a:spcAft>
          </a:pPr>
          <a:r>
            <a:rPr lang="pt-BR" sz="1400" dirty="0"/>
            <a:t>Princípios da transparência e da ampla participação no processo normativo</a:t>
          </a:r>
        </a:p>
      </dgm:t>
    </dgm:pt>
    <dgm:pt modelId="{CA6DFA92-55F1-40D5-90B2-B575389425A6}" type="parTrans" cxnId="{86EA565F-42B7-489D-9B74-CCC295FE5EA5}">
      <dgm:prSet/>
      <dgm:spPr/>
      <dgm:t>
        <a:bodyPr/>
        <a:lstStyle/>
        <a:p>
          <a:endParaRPr lang="pt-BR"/>
        </a:p>
      </dgm:t>
    </dgm:pt>
    <dgm:pt modelId="{FFA89FD4-E4B9-464D-B908-AF8BBA51D725}" type="sibTrans" cxnId="{86EA565F-42B7-489D-9B74-CCC295FE5EA5}">
      <dgm:prSet/>
      <dgm:spPr/>
      <dgm:t>
        <a:bodyPr/>
        <a:lstStyle/>
        <a:p>
          <a:endParaRPr lang="pt-BR"/>
        </a:p>
      </dgm:t>
    </dgm:pt>
    <dgm:pt modelId="{F8DC3354-52CD-4A49-AE62-5E8EE3C2B0FE}">
      <dgm:prSet phldrT="[Texto]" custT="1"/>
      <dgm:spPr/>
      <dgm:t>
        <a:bodyPr/>
        <a:lstStyle/>
        <a:p>
          <a:pPr>
            <a:spcAft>
              <a:spcPts val="600"/>
            </a:spcAft>
          </a:pPr>
          <a:r>
            <a:rPr lang="pt-BR" sz="1400" dirty="0"/>
            <a:t>Regulamentação compreensível e clara</a:t>
          </a:r>
        </a:p>
      </dgm:t>
    </dgm:pt>
    <dgm:pt modelId="{39A93ED6-C812-4CF4-A32B-2FE5D240336F}" type="parTrans" cxnId="{7E5C9264-E24D-42D3-888A-C888F5DA36D4}">
      <dgm:prSet/>
      <dgm:spPr/>
      <dgm:t>
        <a:bodyPr/>
        <a:lstStyle/>
        <a:p>
          <a:endParaRPr lang="pt-BR"/>
        </a:p>
      </dgm:t>
    </dgm:pt>
    <dgm:pt modelId="{2F50AE43-570B-4940-A67B-0836C6DEE7B7}" type="sibTrans" cxnId="{7E5C9264-E24D-42D3-888A-C888F5DA36D4}">
      <dgm:prSet/>
      <dgm:spPr/>
      <dgm:t>
        <a:bodyPr/>
        <a:lstStyle/>
        <a:p>
          <a:endParaRPr lang="pt-BR"/>
        </a:p>
      </dgm:t>
    </dgm:pt>
    <dgm:pt modelId="{3D402593-00A5-40F5-9919-F43FE9C63BAF}">
      <dgm:prSet phldrT="[Texto]" custT="1"/>
      <dgm:spPr/>
      <dgm:t>
        <a:bodyPr/>
        <a:lstStyle/>
        <a:p>
          <a:pPr>
            <a:spcAft>
              <a:spcPts val="600"/>
            </a:spcAft>
          </a:pPr>
          <a:r>
            <a:rPr lang="pt-BR" sz="1400" dirty="0"/>
            <a:t>Padronização e uniformização de termos, conceitos e definições</a:t>
          </a:r>
        </a:p>
      </dgm:t>
    </dgm:pt>
    <dgm:pt modelId="{DDB1EA99-901C-471E-9663-5190067AB0A6}" type="parTrans" cxnId="{938019A3-77AA-4639-A2D8-2BF349A30B71}">
      <dgm:prSet/>
      <dgm:spPr/>
      <dgm:t>
        <a:bodyPr/>
        <a:lstStyle/>
        <a:p>
          <a:endParaRPr lang="pt-BR"/>
        </a:p>
      </dgm:t>
    </dgm:pt>
    <dgm:pt modelId="{110580D9-9D05-4431-8A9F-E815E4DC7A68}" type="sibTrans" cxnId="{938019A3-77AA-4639-A2D8-2BF349A30B71}">
      <dgm:prSet/>
      <dgm:spPr/>
      <dgm:t>
        <a:bodyPr/>
        <a:lstStyle/>
        <a:p>
          <a:endParaRPr lang="pt-BR"/>
        </a:p>
      </dgm:t>
    </dgm:pt>
    <dgm:pt modelId="{10F79338-937C-4447-A7C1-D56D65FD8D8D}" type="pres">
      <dgm:prSet presAssocID="{A3DD5F3F-0890-4318-9F5E-378954B25580}" presName="Name0" presStyleCnt="0">
        <dgm:presLayoutVars>
          <dgm:dir/>
          <dgm:animLvl val="lvl"/>
          <dgm:resizeHandles val="exact"/>
        </dgm:presLayoutVars>
      </dgm:prSet>
      <dgm:spPr/>
    </dgm:pt>
    <dgm:pt modelId="{782B9D6C-F37C-4ED6-8436-5315023A412C}" type="pres">
      <dgm:prSet presAssocID="{474B928F-6258-43CD-BEB6-61E486A2F382}" presName="linNode" presStyleCnt="0"/>
      <dgm:spPr/>
    </dgm:pt>
    <dgm:pt modelId="{1D070957-4DF7-4978-8F1C-C2C1FEA8EE12}" type="pres">
      <dgm:prSet presAssocID="{474B928F-6258-43CD-BEB6-61E486A2F382}" presName="parentText" presStyleLbl="node1" presStyleIdx="0" presStyleCnt="2" custScaleX="64029" custScaleY="116096" custLinFactNeighborX="-3395">
        <dgm:presLayoutVars>
          <dgm:chMax val="1"/>
          <dgm:bulletEnabled val="1"/>
        </dgm:presLayoutVars>
      </dgm:prSet>
      <dgm:spPr/>
    </dgm:pt>
    <dgm:pt modelId="{C046F121-7EEB-4873-97EF-953280B3C5E5}" type="pres">
      <dgm:prSet presAssocID="{474B928F-6258-43CD-BEB6-61E486A2F382}" presName="descendantText" presStyleLbl="alignAccFollowNode1" presStyleIdx="0" presStyleCnt="2" custScaleY="150401" custLinFactNeighborY="0">
        <dgm:presLayoutVars>
          <dgm:bulletEnabled val="1"/>
        </dgm:presLayoutVars>
      </dgm:prSet>
      <dgm:spPr/>
    </dgm:pt>
    <dgm:pt modelId="{8C013E5E-5B0B-4271-B4A7-807EC1419F86}" type="pres">
      <dgm:prSet presAssocID="{BA096D4F-6ED1-4150-9A65-0488157032CC}" presName="sp" presStyleCnt="0"/>
      <dgm:spPr/>
    </dgm:pt>
    <dgm:pt modelId="{8295040B-9050-4F71-B32A-D6055CC2C345}" type="pres">
      <dgm:prSet presAssocID="{A722A5A7-E13E-4724-83FC-BF44D0B86972}" presName="linNode" presStyleCnt="0"/>
      <dgm:spPr/>
    </dgm:pt>
    <dgm:pt modelId="{CD9C9266-66F8-4143-8F6D-67B9DE17062B}" type="pres">
      <dgm:prSet presAssocID="{A722A5A7-E13E-4724-83FC-BF44D0B86972}" presName="parentText" presStyleLbl="node1" presStyleIdx="1" presStyleCnt="2" custScaleX="64029" custLinFactNeighborX="-3395">
        <dgm:presLayoutVars>
          <dgm:chMax val="1"/>
          <dgm:bulletEnabled val="1"/>
        </dgm:presLayoutVars>
      </dgm:prSet>
      <dgm:spPr/>
    </dgm:pt>
    <dgm:pt modelId="{904459FB-8842-459E-9085-26BB27246EB8}" type="pres">
      <dgm:prSet presAssocID="{A722A5A7-E13E-4724-83FC-BF44D0B86972}" presName="descendantText" presStyleLbl="alignAccFollowNode1" presStyleIdx="1" presStyleCnt="2" custScaleY="188677">
        <dgm:presLayoutVars>
          <dgm:bulletEnabled val="1"/>
        </dgm:presLayoutVars>
      </dgm:prSet>
      <dgm:spPr/>
    </dgm:pt>
  </dgm:ptLst>
  <dgm:cxnLst>
    <dgm:cxn modelId="{13754C08-51BF-4F71-83A6-FAA723350B12}" srcId="{474B928F-6258-43CD-BEB6-61E486A2F382}" destId="{5BB24C2B-4F58-4BBD-9497-4AF8A40A2DC4}" srcOrd="1" destOrd="0" parTransId="{3C9A18F2-AB73-40E1-A226-D60304985BBB}" sibTransId="{12299F66-33C8-4111-95DD-1A0679853E6D}"/>
    <dgm:cxn modelId="{ED66F514-CF13-4A9E-B324-DDF968ED5C9B}" type="presOf" srcId="{891F8B43-DC7F-4850-A45D-A24579D4FEE5}" destId="{904459FB-8842-459E-9085-26BB27246EB8}" srcOrd="0" destOrd="1" presId="urn:microsoft.com/office/officeart/2005/8/layout/vList5"/>
    <dgm:cxn modelId="{7CBBF625-6CF0-47F8-B95D-5FC4AE62D638}" type="presOf" srcId="{6E20A63E-C267-44B3-8B35-5EF825B664FB}" destId="{C046F121-7EEB-4873-97EF-953280B3C5E5}" srcOrd="0" destOrd="0" presId="urn:microsoft.com/office/officeart/2005/8/layout/vList5"/>
    <dgm:cxn modelId="{2F51632D-9DE9-4FAF-8A9D-CC1668EFF3A6}" type="presOf" srcId="{A722A5A7-E13E-4724-83FC-BF44D0B86972}" destId="{CD9C9266-66F8-4143-8F6D-67B9DE17062B}" srcOrd="0" destOrd="0" presId="urn:microsoft.com/office/officeart/2005/8/layout/vList5"/>
    <dgm:cxn modelId="{86EA565F-42B7-489D-9B74-CCC295FE5EA5}" srcId="{A722A5A7-E13E-4724-83FC-BF44D0B86972}" destId="{891F8B43-DC7F-4850-A45D-A24579D4FEE5}" srcOrd="1" destOrd="0" parTransId="{CA6DFA92-55F1-40D5-90B2-B575389425A6}" sibTransId="{FFA89FD4-E4B9-464D-B908-AF8BBA51D725}"/>
    <dgm:cxn modelId="{D6204060-37A7-4764-83C6-EBE5168E3873}" srcId="{A722A5A7-E13E-4724-83FC-BF44D0B86972}" destId="{7914EA8A-3519-4916-8081-EAF464B7EA6B}" srcOrd="0" destOrd="0" parTransId="{752A18A5-EF6F-4759-B445-5E538998F113}" sibTransId="{CF2E81EA-67FD-4C91-92EB-ED6B9827C4F6}"/>
    <dgm:cxn modelId="{7E5C9264-E24D-42D3-888A-C888F5DA36D4}" srcId="{A722A5A7-E13E-4724-83FC-BF44D0B86972}" destId="{F8DC3354-52CD-4A49-AE62-5E8EE3C2B0FE}" srcOrd="2" destOrd="0" parTransId="{39A93ED6-C812-4CF4-A32B-2FE5D240336F}" sibTransId="{2F50AE43-570B-4940-A67B-0836C6DEE7B7}"/>
    <dgm:cxn modelId="{BB2D2148-EC1E-47B6-A62E-51780F25D59E}" type="presOf" srcId="{474B928F-6258-43CD-BEB6-61E486A2F382}" destId="{1D070957-4DF7-4978-8F1C-C2C1FEA8EE12}" srcOrd="0" destOrd="0" presId="urn:microsoft.com/office/officeart/2005/8/layout/vList5"/>
    <dgm:cxn modelId="{0FA4616C-2666-455F-8B7D-2C30F6B096C6}" type="presOf" srcId="{A3DD5F3F-0890-4318-9F5E-378954B25580}" destId="{10F79338-937C-4447-A7C1-D56D65FD8D8D}" srcOrd="0" destOrd="0" presId="urn:microsoft.com/office/officeart/2005/8/layout/vList5"/>
    <dgm:cxn modelId="{E7AFEF87-C049-4711-AED3-E17E3F9E7CB8}" type="presOf" srcId="{7914EA8A-3519-4916-8081-EAF464B7EA6B}" destId="{904459FB-8842-459E-9085-26BB27246EB8}" srcOrd="0" destOrd="0" presId="urn:microsoft.com/office/officeart/2005/8/layout/vList5"/>
    <dgm:cxn modelId="{1C188691-84A3-4D94-B16C-06251E32A03B}" type="presOf" srcId="{F8DC3354-52CD-4A49-AE62-5E8EE3C2B0FE}" destId="{904459FB-8842-459E-9085-26BB27246EB8}" srcOrd="0" destOrd="2" presId="urn:microsoft.com/office/officeart/2005/8/layout/vList5"/>
    <dgm:cxn modelId="{FF3EB799-3A02-4777-9032-1415984C3C40}" srcId="{474B928F-6258-43CD-BEB6-61E486A2F382}" destId="{6E20A63E-C267-44B3-8B35-5EF825B664FB}" srcOrd="0" destOrd="0" parTransId="{4DE58804-2E2A-46D4-9B3D-499D12647CE3}" sibTransId="{467E1415-2FA4-42A9-B606-FE5B0EAD115D}"/>
    <dgm:cxn modelId="{C2FF5DA0-A672-420B-AA38-C677AA38CE79}" type="presOf" srcId="{3D402593-00A5-40F5-9919-F43FE9C63BAF}" destId="{904459FB-8842-459E-9085-26BB27246EB8}" srcOrd="0" destOrd="3" presId="urn:microsoft.com/office/officeart/2005/8/layout/vList5"/>
    <dgm:cxn modelId="{938019A3-77AA-4639-A2D8-2BF349A30B71}" srcId="{A722A5A7-E13E-4724-83FC-BF44D0B86972}" destId="{3D402593-00A5-40F5-9919-F43FE9C63BAF}" srcOrd="3" destOrd="0" parTransId="{DDB1EA99-901C-471E-9663-5190067AB0A6}" sibTransId="{110580D9-9D05-4431-8A9F-E815E4DC7A68}"/>
    <dgm:cxn modelId="{CAC131AD-27A4-4459-A084-E813421AEFA9}" srcId="{A3DD5F3F-0890-4318-9F5E-378954B25580}" destId="{A722A5A7-E13E-4724-83FC-BF44D0B86972}" srcOrd="1" destOrd="0" parTransId="{099F8FC2-3EA0-4B04-80A7-235ED02EB796}" sibTransId="{88C81A0C-7AF3-4120-B366-C75C31349461}"/>
    <dgm:cxn modelId="{3C3238AE-E26F-4614-8C6F-CF54F7E734E1}" type="presOf" srcId="{5BB24C2B-4F58-4BBD-9497-4AF8A40A2DC4}" destId="{C046F121-7EEB-4873-97EF-953280B3C5E5}" srcOrd="0" destOrd="1" presId="urn:microsoft.com/office/officeart/2005/8/layout/vList5"/>
    <dgm:cxn modelId="{374A89F8-B5BC-4430-A0CF-E627F96A39AD}" srcId="{A3DD5F3F-0890-4318-9F5E-378954B25580}" destId="{474B928F-6258-43CD-BEB6-61E486A2F382}" srcOrd="0" destOrd="0" parTransId="{989C381B-489D-48AE-9256-DF92BAAA31C8}" sibTransId="{BA096D4F-6ED1-4150-9A65-0488157032CC}"/>
    <dgm:cxn modelId="{7E5BAF49-F317-4203-820F-5DB41F72064F}" type="presParOf" srcId="{10F79338-937C-4447-A7C1-D56D65FD8D8D}" destId="{782B9D6C-F37C-4ED6-8436-5315023A412C}" srcOrd="0" destOrd="0" presId="urn:microsoft.com/office/officeart/2005/8/layout/vList5"/>
    <dgm:cxn modelId="{5B1DC9B3-4B7B-427F-A941-A69D3E6296CA}" type="presParOf" srcId="{782B9D6C-F37C-4ED6-8436-5315023A412C}" destId="{1D070957-4DF7-4978-8F1C-C2C1FEA8EE12}" srcOrd="0" destOrd="0" presId="urn:microsoft.com/office/officeart/2005/8/layout/vList5"/>
    <dgm:cxn modelId="{9BAE081C-1FDD-47DD-B429-81C21674C0A4}" type="presParOf" srcId="{782B9D6C-F37C-4ED6-8436-5315023A412C}" destId="{C046F121-7EEB-4873-97EF-953280B3C5E5}" srcOrd="1" destOrd="0" presId="urn:microsoft.com/office/officeart/2005/8/layout/vList5"/>
    <dgm:cxn modelId="{3DD943C2-0A0A-48C1-8B39-ED6B03C76281}" type="presParOf" srcId="{10F79338-937C-4447-A7C1-D56D65FD8D8D}" destId="{8C013E5E-5B0B-4271-B4A7-807EC1419F86}" srcOrd="1" destOrd="0" presId="urn:microsoft.com/office/officeart/2005/8/layout/vList5"/>
    <dgm:cxn modelId="{1EA0DAC2-FC65-401E-9F70-D92580334AA6}" type="presParOf" srcId="{10F79338-937C-4447-A7C1-D56D65FD8D8D}" destId="{8295040B-9050-4F71-B32A-D6055CC2C345}" srcOrd="2" destOrd="0" presId="urn:microsoft.com/office/officeart/2005/8/layout/vList5"/>
    <dgm:cxn modelId="{4DDFDD7F-E751-4DB7-8400-BCB455393861}" type="presParOf" srcId="{8295040B-9050-4F71-B32A-D6055CC2C345}" destId="{CD9C9266-66F8-4143-8F6D-67B9DE17062B}" srcOrd="0" destOrd="0" presId="urn:microsoft.com/office/officeart/2005/8/layout/vList5"/>
    <dgm:cxn modelId="{857D5376-7B1C-411D-A69F-613BDAA3ADE7}" type="presParOf" srcId="{8295040B-9050-4F71-B32A-D6055CC2C345}" destId="{904459FB-8842-459E-9085-26BB27246EB8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09D00000-01E4-7240-B3B5-9EF2BDA8456C}" type="doc">
      <dgm:prSet loTypeId="urn:microsoft.com/office/officeart/2005/8/layout/vList2" loCatId="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EE0DA9A-D942-8F47-929B-2343843C0B47}">
      <dgm:prSet custT="1"/>
      <dgm:spPr/>
      <dgm:t>
        <a:bodyPr anchor="ctr"/>
        <a:lstStyle/>
        <a:p>
          <a:pPr marL="0" marR="0" indent="0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pt-BR" sz="2000" b="1" noProof="0" dirty="0"/>
            <a:t>Capítulo V – DAS DISPOSIÇÕES FINAIS</a:t>
          </a:r>
        </a:p>
      </dgm:t>
    </dgm:pt>
    <dgm:pt modelId="{F9ED3753-853C-1944-A762-956FCDFF78B8}" type="parTrans" cxnId="{F78FBB69-8312-A345-8997-19700DBEDD48}">
      <dgm:prSet/>
      <dgm:spPr/>
      <dgm:t>
        <a:bodyPr/>
        <a:lstStyle/>
        <a:p>
          <a:endParaRPr lang="en-US"/>
        </a:p>
      </dgm:t>
    </dgm:pt>
    <dgm:pt modelId="{B8AC0151-87F1-EB4E-8980-0378A27D6734}" type="sibTrans" cxnId="{F78FBB69-8312-A345-8997-19700DBEDD48}">
      <dgm:prSet/>
      <dgm:spPr/>
      <dgm:t>
        <a:bodyPr/>
        <a:lstStyle/>
        <a:p>
          <a:endParaRPr lang="en-US"/>
        </a:p>
      </dgm:t>
    </dgm:pt>
    <dgm:pt modelId="{486F1058-5104-454D-831F-8FE3102256C7}">
      <dgm:prSet custT="1"/>
      <dgm:spPr/>
      <dgm:t>
        <a:bodyPr anchor="ctr"/>
        <a:lstStyle/>
        <a:p>
          <a:pPr marL="0" marR="0" indent="0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pt-BR" sz="2000" noProof="0" dirty="0"/>
            <a:t>Capítulo I – DAS DISPOSIÇÕES GERAIS</a:t>
          </a:r>
        </a:p>
      </dgm:t>
    </dgm:pt>
    <dgm:pt modelId="{0005C618-99E7-D34C-B718-3CAAA5911587}" type="sibTrans" cxnId="{0AB721B3-7179-884D-93A9-C5EE8EE1C42F}">
      <dgm:prSet/>
      <dgm:spPr/>
      <dgm:t>
        <a:bodyPr/>
        <a:lstStyle/>
        <a:p>
          <a:endParaRPr lang="en-US" sz="2400"/>
        </a:p>
      </dgm:t>
    </dgm:pt>
    <dgm:pt modelId="{8BE1B962-B399-1141-9930-667A585F3991}" type="parTrans" cxnId="{0AB721B3-7179-884D-93A9-C5EE8EE1C42F}">
      <dgm:prSet/>
      <dgm:spPr/>
      <dgm:t>
        <a:bodyPr/>
        <a:lstStyle/>
        <a:p>
          <a:endParaRPr lang="en-US" sz="2400"/>
        </a:p>
      </dgm:t>
    </dgm:pt>
    <dgm:pt modelId="{ACAFD9A1-83EA-4121-882B-309D53ACA06D}">
      <dgm:prSet custT="1"/>
      <dgm:spPr/>
      <dgm:t>
        <a:bodyPr anchor="ctr"/>
        <a:lstStyle/>
        <a:p>
          <a:pPr marR="0" rtl="0" eaLnBrk="1" fontAlgn="auto" latinLnBrk="0" hangingPunct="1">
            <a:buClrTx/>
            <a:buSzTx/>
            <a:buFontTx/>
            <a:tabLst/>
            <a:defRPr/>
          </a:pPr>
          <a:r>
            <a:rPr lang="pt-BR" sz="2000" b="1" noProof="0" dirty="0"/>
            <a:t>Capítulo IV – DA RECOMPOSIÇÃO DO EQUILÍBRIO ECONÔMICO-FINANCEIRO</a:t>
          </a:r>
        </a:p>
      </dgm:t>
    </dgm:pt>
    <dgm:pt modelId="{5C2D0FC0-0792-4DA9-9D0A-04E4B190ACFA}" type="parTrans" cxnId="{861DD6B6-B773-4C4F-9EDF-6582FE2F3029}">
      <dgm:prSet/>
      <dgm:spPr/>
      <dgm:t>
        <a:bodyPr/>
        <a:lstStyle/>
        <a:p>
          <a:endParaRPr lang="pt-BR"/>
        </a:p>
      </dgm:t>
    </dgm:pt>
    <dgm:pt modelId="{2042FC5E-7608-4383-A404-88D612AA1CE5}" type="sibTrans" cxnId="{861DD6B6-B773-4C4F-9EDF-6582FE2F3029}">
      <dgm:prSet/>
      <dgm:spPr/>
      <dgm:t>
        <a:bodyPr/>
        <a:lstStyle/>
        <a:p>
          <a:endParaRPr lang="pt-BR"/>
        </a:p>
      </dgm:t>
    </dgm:pt>
    <dgm:pt modelId="{AB3284A4-5C17-4B33-B0AE-E629DF1D4121}">
      <dgm:prSet custT="1"/>
      <dgm:spPr>
        <a:solidFill>
          <a:schemeClr val="accent1">
            <a:lumMod val="60000"/>
            <a:lumOff val="40000"/>
          </a:schemeClr>
        </a:solidFill>
      </dgm:spPr>
      <dgm:t>
        <a:bodyPr anchor="ctr"/>
        <a:lstStyle/>
        <a:p>
          <a:pPr marR="0" rtl="0" eaLnBrk="1" fontAlgn="auto" latinLnBrk="0" hangingPunct="1">
            <a:buClrTx/>
            <a:buSzTx/>
            <a:buFontTx/>
            <a:tabLst/>
            <a:defRPr/>
          </a:pPr>
          <a:r>
            <a:rPr lang="pt-BR" sz="1600" b="0" noProof="0" dirty="0"/>
            <a:t>Seção I – Da instrução</a:t>
          </a:r>
        </a:p>
      </dgm:t>
    </dgm:pt>
    <dgm:pt modelId="{07F4F338-F453-456F-B396-76F6A9692AA9}" type="parTrans" cxnId="{255A76EE-2D75-4363-81B6-4A8E0DB7A4D7}">
      <dgm:prSet/>
      <dgm:spPr/>
      <dgm:t>
        <a:bodyPr/>
        <a:lstStyle/>
        <a:p>
          <a:endParaRPr lang="pt-BR"/>
        </a:p>
      </dgm:t>
    </dgm:pt>
    <dgm:pt modelId="{09605F51-6563-4A3D-9323-A0AFBFA89E49}" type="sibTrans" cxnId="{255A76EE-2D75-4363-81B6-4A8E0DB7A4D7}">
      <dgm:prSet/>
      <dgm:spPr/>
      <dgm:t>
        <a:bodyPr/>
        <a:lstStyle/>
        <a:p>
          <a:endParaRPr lang="pt-BR"/>
        </a:p>
      </dgm:t>
    </dgm:pt>
    <dgm:pt modelId="{F1F7BA2C-9BB0-4007-942A-8F2F601EBCFF}">
      <dgm:prSet custT="1"/>
      <dgm:spPr>
        <a:solidFill>
          <a:schemeClr val="accent1">
            <a:lumMod val="60000"/>
            <a:lumOff val="40000"/>
          </a:schemeClr>
        </a:solidFill>
      </dgm:spPr>
      <dgm:t>
        <a:bodyPr anchor="ctr"/>
        <a:lstStyle/>
        <a:p>
          <a:pPr marR="0" rtl="0" eaLnBrk="1" fontAlgn="auto" latinLnBrk="0" hangingPunct="1">
            <a:buClrTx/>
            <a:buSzTx/>
            <a:buFontTx/>
            <a:tabLst/>
            <a:defRPr/>
          </a:pPr>
          <a:r>
            <a:rPr lang="pt-BR" sz="1600" b="0" noProof="0" dirty="0"/>
            <a:t>Seção II – Da análise</a:t>
          </a:r>
        </a:p>
      </dgm:t>
    </dgm:pt>
    <dgm:pt modelId="{B9C04F12-818A-4226-8C95-237ABCED6749}" type="sibTrans" cxnId="{C2DDB359-78E9-46B8-B5F4-B894614ECE76}">
      <dgm:prSet/>
      <dgm:spPr/>
      <dgm:t>
        <a:bodyPr/>
        <a:lstStyle/>
        <a:p>
          <a:endParaRPr lang="pt-BR"/>
        </a:p>
      </dgm:t>
    </dgm:pt>
    <dgm:pt modelId="{1F8E5CEB-F9CD-4E2C-9EB9-D395EDD200C1}" type="parTrans" cxnId="{C2DDB359-78E9-46B8-B5F4-B894614ECE76}">
      <dgm:prSet/>
      <dgm:spPr/>
      <dgm:t>
        <a:bodyPr/>
        <a:lstStyle/>
        <a:p>
          <a:endParaRPr lang="pt-BR"/>
        </a:p>
      </dgm:t>
    </dgm:pt>
    <dgm:pt modelId="{05E77A21-27A0-4BB9-AE64-F6A461F26EC5}">
      <dgm:prSet custT="1"/>
      <dgm:spPr>
        <a:solidFill>
          <a:schemeClr val="accent1">
            <a:lumMod val="60000"/>
            <a:lumOff val="40000"/>
          </a:schemeClr>
        </a:solidFill>
      </dgm:spPr>
      <dgm:t>
        <a:bodyPr anchor="ctr"/>
        <a:lstStyle/>
        <a:p>
          <a:pPr marR="0" rtl="0" eaLnBrk="1" fontAlgn="auto" latinLnBrk="0" hangingPunct="1">
            <a:buClrTx/>
            <a:buSzTx/>
            <a:buFontTx/>
            <a:tabLst/>
            <a:defRPr/>
          </a:pPr>
          <a:r>
            <a:rPr lang="pt-BR" sz="1600" b="0" noProof="0" dirty="0"/>
            <a:t>Seção III – Dos novos investimentos ou serviços</a:t>
          </a:r>
        </a:p>
      </dgm:t>
    </dgm:pt>
    <dgm:pt modelId="{42E876FA-66D2-420B-BAAE-EB53CDE39B8C}" type="parTrans" cxnId="{00DB8641-6515-4F83-A6DA-291C257B340A}">
      <dgm:prSet/>
      <dgm:spPr/>
      <dgm:t>
        <a:bodyPr/>
        <a:lstStyle/>
        <a:p>
          <a:endParaRPr lang="pt-BR"/>
        </a:p>
      </dgm:t>
    </dgm:pt>
    <dgm:pt modelId="{8E5C462D-5579-47DA-98D8-42961B314D89}" type="sibTrans" cxnId="{00DB8641-6515-4F83-A6DA-291C257B340A}">
      <dgm:prSet/>
      <dgm:spPr/>
      <dgm:t>
        <a:bodyPr/>
        <a:lstStyle/>
        <a:p>
          <a:endParaRPr lang="pt-BR"/>
        </a:p>
      </dgm:t>
    </dgm:pt>
    <dgm:pt modelId="{96AA41CE-302B-426D-AB92-2C646D0BA686}">
      <dgm:prSet custT="1"/>
      <dgm:spPr/>
      <dgm:t>
        <a:bodyPr anchor="ctr"/>
        <a:lstStyle/>
        <a:p>
          <a:pPr marR="0" rtl="0" eaLnBrk="1" fontAlgn="auto" latinLnBrk="0" hangingPunct="1">
            <a:buClrTx/>
            <a:buSzTx/>
            <a:buFontTx/>
            <a:buNone/>
            <a:tabLst/>
            <a:defRPr/>
          </a:pPr>
          <a:r>
            <a:rPr lang="pt-BR" sz="2000" noProof="0" dirty="0"/>
            <a:t>Capítulo II – DO PROCESSO DE REVISÃO EXTRAORDINÁRIA</a:t>
          </a:r>
        </a:p>
      </dgm:t>
    </dgm:pt>
    <dgm:pt modelId="{0BD1DD19-73C9-4D17-9BC6-BB38E4DFB6C6}" type="parTrans" cxnId="{FA083398-D130-401D-8FE0-B0B7FBDF20B8}">
      <dgm:prSet/>
      <dgm:spPr/>
      <dgm:t>
        <a:bodyPr/>
        <a:lstStyle/>
        <a:p>
          <a:endParaRPr lang="pt-BR"/>
        </a:p>
      </dgm:t>
    </dgm:pt>
    <dgm:pt modelId="{B77DC601-7091-41F3-8D32-8B89E50CD9EA}" type="sibTrans" cxnId="{FA083398-D130-401D-8FE0-B0B7FBDF20B8}">
      <dgm:prSet/>
      <dgm:spPr/>
      <dgm:t>
        <a:bodyPr/>
        <a:lstStyle/>
        <a:p>
          <a:endParaRPr lang="pt-BR"/>
        </a:p>
      </dgm:t>
    </dgm:pt>
    <dgm:pt modelId="{FE0639AB-585A-4A0B-BD87-D77032129E2B}">
      <dgm:prSet custT="1"/>
      <dgm:spPr/>
      <dgm:t>
        <a:bodyPr anchor="ctr"/>
        <a:lstStyle/>
        <a:p>
          <a:pPr marR="0" rtl="0" eaLnBrk="1" fontAlgn="auto" latinLnBrk="0" hangingPunct="1">
            <a:buClrTx/>
            <a:buSzTx/>
            <a:buFontTx/>
            <a:buNone/>
            <a:tabLst/>
            <a:defRPr/>
          </a:pPr>
          <a:r>
            <a:rPr lang="pt-BR" sz="2000" noProof="0" dirty="0"/>
            <a:t>Capítulo III – DO PEDIDO DE REVISÃO EXTRAORDINÁRIA</a:t>
          </a:r>
        </a:p>
      </dgm:t>
    </dgm:pt>
    <dgm:pt modelId="{FA135B18-570D-4859-9A24-8B12BABB7324}" type="parTrans" cxnId="{217589AC-6533-4C74-AEC5-C6F9FC98EF71}">
      <dgm:prSet/>
      <dgm:spPr/>
      <dgm:t>
        <a:bodyPr/>
        <a:lstStyle/>
        <a:p>
          <a:endParaRPr lang="pt-BR"/>
        </a:p>
      </dgm:t>
    </dgm:pt>
    <dgm:pt modelId="{BD0545E1-2F77-4B42-9C68-0239C69C772E}" type="sibTrans" cxnId="{217589AC-6533-4C74-AEC5-C6F9FC98EF71}">
      <dgm:prSet/>
      <dgm:spPr/>
      <dgm:t>
        <a:bodyPr/>
        <a:lstStyle/>
        <a:p>
          <a:endParaRPr lang="pt-BR"/>
        </a:p>
      </dgm:t>
    </dgm:pt>
    <dgm:pt modelId="{535D7656-D78E-754D-8A42-41023379A793}" type="pres">
      <dgm:prSet presAssocID="{09D00000-01E4-7240-B3B5-9EF2BDA8456C}" presName="linear" presStyleCnt="0">
        <dgm:presLayoutVars>
          <dgm:animLvl val="lvl"/>
          <dgm:resizeHandles val="exact"/>
        </dgm:presLayoutVars>
      </dgm:prSet>
      <dgm:spPr/>
    </dgm:pt>
    <dgm:pt modelId="{EB766CDB-92AB-7D43-8D75-3B0260F1D040}" type="pres">
      <dgm:prSet presAssocID="{486F1058-5104-454D-831F-8FE3102256C7}" presName="parentText" presStyleLbl="node1" presStyleIdx="0" presStyleCnt="8" custScaleY="83443" custLinFactNeighborX="-450" custLinFactNeighborY="-40453">
        <dgm:presLayoutVars>
          <dgm:chMax val="0"/>
          <dgm:bulletEnabled val="1"/>
        </dgm:presLayoutVars>
      </dgm:prSet>
      <dgm:spPr/>
    </dgm:pt>
    <dgm:pt modelId="{93D9FBCF-CE91-FC4F-A175-C58CE81F5B61}" type="pres">
      <dgm:prSet presAssocID="{0005C618-99E7-D34C-B718-3CAAA5911587}" presName="spacer" presStyleCnt="0"/>
      <dgm:spPr/>
    </dgm:pt>
    <dgm:pt modelId="{81CBD360-5CB6-479C-B517-E1235A0806F8}" type="pres">
      <dgm:prSet presAssocID="{96AA41CE-302B-426D-AB92-2C646D0BA686}" presName="parentText" presStyleLbl="node1" presStyleIdx="1" presStyleCnt="8" custScaleY="83443" custLinFactNeighborX="-450" custLinFactNeighborY="-40453">
        <dgm:presLayoutVars>
          <dgm:chMax val="0"/>
          <dgm:bulletEnabled val="1"/>
        </dgm:presLayoutVars>
      </dgm:prSet>
      <dgm:spPr/>
    </dgm:pt>
    <dgm:pt modelId="{A42405CC-40BB-4FAF-B5ED-D0BFE60C44A2}" type="pres">
      <dgm:prSet presAssocID="{B77DC601-7091-41F3-8D32-8B89E50CD9EA}" presName="spacer" presStyleCnt="0"/>
      <dgm:spPr/>
    </dgm:pt>
    <dgm:pt modelId="{6D9FCCD8-7D92-4140-9508-3521C35B2BF0}" type="pres">
      <dgm:prSet presAssocID="{FE0639AB-585A-4A0B-BD87-D77032129E2B}" presName="parentText" presStyleLbl="node1" presStyleIdx="2" presStyleCnt="8" custScaleY="83443" custLinFactNeighborX="-450" custLinFactNeighborY="-40453">
        <dgm:presLayoutVars>
          <dgm:chMax val="0"/>
          <dgm:bulletEnabled val="1"/>
        </dgm:presLayoutVars>
      </dgm:prSet>
      <dgm:spPr/>
    </dgm:pt>
    <dgm:pt modelId="{41FD89DF-48F9-4E92-939A-329C11866DD1}" type="pres">
      <dgm:prSet presAssocID="{BD0545E1-2F77-4B42-9C68-0239C69C772E}" presName="spacer" presStyleCnt="0"/>
      <dgm:spPr/>
    </dgm:pt>
    <dgm:pt modelId="{E8ABFFE9-82D4-1344-A286-D3B47991F50F}" type="pres">
      <dgm:prSet presAssocID="{EEE0DA9A-D942-8F47-929B-2343843C0B47}" presName="parentText" presStyleLbl="node1" presStyleIdx="3" presStyleCnt="8" custScaleY="78401" custLinFactY="200000" custLinFactNeighborX="-450" custLinFactNeighborY="297338">
        <dgm:presLayoutVars>
          <dgm:chMax val="0"/>
          <dgm:bulletEnabled val="1"/>
        </dgm:presLayoutVars>
      </dgm:prSet>
      <dgm:spPr/>
    </dgm:pt>
    <dgm:pt modelId="{AE8ABF48-4384-4AA7-B63F-C6C93D34EE34}" type="pres">
      <dgm:prSet presAssocID="{B8AC0151-87F1-EB4E-8980-0378A27D6734}" presName="spacer" presStyleCnt="0"/>
      <dgm:spPr/>
    </dgm:pt>
    <dgm:pt modelId="{0AEA479B-0C44-4981-9E89-E893702EFCA2}" type="pres">
      <dgm:prSet presAssocID="{ACAFD9A1-83EA-4121-882B-309D53ACA06D}" presName="parentText" presStyleLbl="node1" presStyleIdx="4" presStyleCnt="8" custScaleY="78401" custLinFactY="35830" custLinFactNeighborX="-450" custLinFactNeighborY="100000">
        <dgm:presLayoutVars>
          <dgm:chMax val="0"/>
          <dgm:bulletEnabled val="1"/>
        </dgm:presLayoutVars>
      </dgm:prSet>
      <dgm:spPr/>
    </dgm:pt>
    <dgm:pt modelId="{D7CE2BF2-1E47-4ED7-9C7F-0B73383DBBA4}" type="pres">
      <dgm:prSet presAssocID="{2042FC5E-7608-4383-A404-88D612AA1CE5}" presName="spacer" presStyleCnt="0"/>
      <dgm:spPr/>
    </dgm:pt>
    <dgm:pt modelId="{FE8200D6-8CDA-4508-BB73-692B8F37239F}" type="pres">
      <dgm:prSet presAssocID="{AB3284A4-5C17-4B33-B0AE-E629DF1D4121}" presName="parentText" presStyleLbl="node1" presStyleIdx="5" presStyleCnt="8" custScaleX="89340" custScaleY="34182" custLinFactY="-159734" custLinFactNeighborX="5058" custLinFactNeighborY="-200000">
        <dgm:presLayoutVars>
          <dgm:chMax val="0"/>
          <dgm:bulletEnabled val="1"/>
        </dgm:presLayoutVars>
      </dgm:prSet>
      <dgm:spPr/>
    </dgm:pt>
    <dgm:pt modelId="{4DB215E5-3526-4B5A-8A0B-9BEA91528D7C}" type="pres">
      <dgm:prSet presAssocID="{09605F51-6563-4A3D-9323-A0AFBFA89E49}" presName="spacer" presStyleCnt="0"/>
      <dgm:spPr/>
    </dgm:pt>
    <dgm:pt modelId="{5D5C00B6-09B0-4235-93BB-BEF88DCD3C5E}" type="pres">
      <dgm:prSet presAssocID="{F1F7BA2C-9BB0-4007-942A-8F2F601EBCFF}" presName="parentText" presStyleLbl="node1" presStyleIdx="6" presStyleCnt="8" custScaleX="89340" custScaleY="34182" custLinFactY="-162523" custLinFactNeighborX="5058" custLinFactNeighborY="-200000">
        <dgm:presLayoutVars>
          <dgm:chMax val="0"/>
          <dgm:bulletEnabled val="1"/>
        </dgm:presLayoutVars>
      </dgm:prSet>
      <dgm:spPr/>
    </dgm:pt>
    <dgm:pt modelId="{2AE3F358-2F51-4E5A-915E-48586D79F841}" type="pres">
      <dgm:prSet presAssocID="{B9C04F12-818A-4226-8C95-237ABCED6749}" presName="spacer" presStyleCnt="0"/>
      <dgm:spPr/>
    </dgm:pt>
    <dgm:pt modelId="{564A66EA-D62B-48E0-A24F-6040C7FD3113}" type="pres">
      <dgm:prSet presAssocID="{05E77A21-27A0-4BB9-AE64-F6A461F26EC5}" presName="parentText" presStyleLbl="node1" presStyleIdx="7" presStyleCnt="8" custScaleX="89340" custScaleY="34182" custLinFactY="-164452" custLinFactNeighborX="5058" custLinFactNeighborY="-200000">
        <dgm:presLayoutVars>
          <dgm:chMax val="0"/>
          <dgm:bulletEnabled val="1"/>
        </dgm:presLayoutVars>
      </dgm:prSet>
      <dgm:spPr/>
    </dgm:pt>
  </dgm:ptLst>
  <dgm:cxnLst>
    <dgm:cxn modelId="{A81FC300-C853-44DC-9902-362B9A5F054F}" type="presOf" srcId="{96AA41CE-302B-426D-AB92-2C646D0BA686}" destId="{81CBD360-5CB6-479C-B517-E1235A0806F8}" srcOrd="0" destOrd="0" presId="urn:microsoft.com/office/officeart/2005/8/layout/vList2"/>
    <dgm:cxn modelId="{29E0EC07-CF20-412F-94D8-88754A5E7360}" type="presOf" srcId="{F1F7BA2C-9BB0-4007-942A-8F2F601EBCFF}" destId="{5D5C00B6-09B0-4235-93BB-BEF88DCD3C5E}" srcOrd="0" destOrd="0" presId="urn:microsoft.com/office/officeart/2005/8/layout/vList2"/>
    <dgm:cxn modelId="{36E74019-D12E-456A-8AEF-DA9AAC9081C6}" type="presOf" srcId="{486F1058-5104-454D-831F-8FE3102256C7}" destId="{EB766CDB-92AB-7D43-8D75-3B0260F1D040}" srcOrd="0" destOrd="0" presId="urn:microsoft.com/office/officeart/2005/8/layout/vList2"/>
    <dgm:cxn modelId="{68878A3A-EC6B-441C-BE1C-ED2573440B4E}" type="presOf" srcId="{FE0639AB-585A-4A0B-BD87-D77032129E2B}" destId="{6D9FCCD8-7D92-4140-9508-3521C35B2BF0}" srcOrd="0" destOrd="0" presId="urn:microsoft.com/office/officeart/2005/8/layout/vList2"/>
    <dgm:cxn modelId="{94D91C3C-4890-43CD-8882-FA7E097B4964}" type="presOf" srcId="{05E77A21-27A0-4BB9-AE64-F6A461F26EC5}" destId="{564A66EA-D62B-48E0-A24F-6040C7FD3113}" srcOrd="0" destOrd="0" presId="urn:microsoft.com/office/officeart/2005/8/layout/vList2"/>
    <dgm:cxn modelId="{00DB8641-6515-4F83-A6DA-291C257B340A}" srcId="{09D00000-01E4-7240-B3B5-9EF2BDA8456C}" destId="{05E77A21-27A0-4BB9-AE64-F6A461F26EC5}" srcOrd="7" destOrd="0" parTransId="{42E876FA-66D2-420B-BAAE-EB53CDE39B8C}" sibTransId="{8E5C462D-5579-47DA-98D8-42961B314D89}"/>
    <dgm:cxn modelId="{F78FBB69-8312-A345-8997-19700DBEDD48}" srcId="{09D00000-01E4-7240-B3B5-9EF2BDA8456C}" destId="{EEE0DA9A-D942-8F47-929B-2343843C0B47}" srcOrd="3" destOrd="0" parTransId="{F9ED3753-853C-1944-A762-956FCDFF78B8}" sibTransId="{B8AC0151-87F1-EB4E-8980-0378A27D6734}"/>
    <dgm:cxn modelId="{C2DDB359-78E9-46B8-B5F4-B894614ECE76}" srcId="{09D00000-01E4-7240-B3B5-9EF2BDA8456C}" destId="{F1F7BA2C-9BB0-4007-942A-8F2F601EBCFF}" srcOrd="6" destOrd="0" parTransId="{1F8E5CEB-F9CD-4E2C-9EB9-D395EDD200C1}" sibTransId="{B9C04F12-818A-4226-8C95-237ABCED6749}"/>
    <dgm:cxn modelId="{53FCD688-9A7D-4CF4-A10A-487BB11AFD08}" type="presOf" srcId="{AB3284A4-5C17-4B33-B0AE-E629DF1D4121}" destId="{FE8200D6-8CDA-4508-BB73-692B8F37239F}" srcOrd="0" destOrd="0" presId="urn:microsoft.com/office/officeart/2005/8/layout/vList2"/>
    <dgm:cxn modelId="{FA083398-D130-401D-8FE0-B0B7FBDF20B8}" srcId="{09D00000-01E4-7240-B3B5-9EF2BDA8456C}" destId="{96AA41CE-302B-426D-AB92-2C646D0BA686}" srcOrd="1" destOrd="0" parTransId="{0BD1DD19-73C9-4D17-9BC6-BB38E4DFB6C6}" sibTransId="{B77DC601-7091-41F3-8D32-8B89E50CD9EA}"/>
    <dgm:cxn modelId="{217589AC-6533-4C74-AEC5-C6F9FC98EF71}" srcId="{09D00000-01E4-7240-B3B5-9EF2BDA8456C}" destId="{FE0639AB-585A-4A0B-BD87-D77032129E2B}" srcOrd="2" destOrd="0" parTransId="{FA135B18-570D-4859-9A24-8B12BABB7324}" sibTransId="{BD0545E1-2F77-4B42-9C68-0239C69C772E}"/>
    <dgm:cxn modelId="{0AB721B3-7179-884D-93A9-C5EE8EE1C42F}" srcId="{09D00000-01E4-7240-B3B5-9EF2BDA8456C}" destId="{486F1058-5104-454D-831F-8FE3102256C7}" srcOrd="0" destOrd="0" parTransId="{8BE1B962-B399-1141-9930-667A585F3991}" sibTransId="{0005C618-99E7-D34C-B718-3CAAA5911587}"/>
    <dgm:cxn modelId="{861DD6B6-B773-4C4F-9EDF-6582FE2F3029}" srcId="{09D00000-01E4-7240-B3B5-9EF2BDA8456C}" destId="{ACAFD9A1-83EA-4121-882B-309D53ACA06D}" srcOrd="4" destOrd="0" parTransId="{5C2D0FC0-0792-4DA9-9D0A-04E4B190ACFA}" sibTransId="{2042FC5E-7608-4383-A404-88D612AA1CE5}"/>
    <dgm:cxn modelId="{5E4454CD-0889-4F09-9569-66F0357F3D55}" type="presOf" srcId="{ACAFD9A1-83EA-4121-882B-309D53ACA06D}" destId="{0AEA479B-0C44-4981-9E89-E893702EFCA2}" srcOrd="0" destOrd="0" presId="urn:microsoft.com/office/officeart/2005/8/layout/vList2"/>
    <dgm:cxn modelId="{9DE573D6-6994-4DA9-BD90-13C2BB346D93}" type="presOf" srcId="{EEE0DA9A-D942-8F47-929B-2343843C0B47}" destId="{E8ABFFE9-82D4-1344-A286-D3B47991F50F}" srcOrd="0" destOrd="0" presId="urn:microsoft.com/office/officeart/2005/8/layout/vList2"/>
    <dgm:cxn modelId="{4E729CDF-76CB-4FFA-8CFF-9908D09101B1}" type="presOf" srcId="{09D00000-01E4-7240-B3B5-9EF2BDA8456C}" destId="{535D7656-D78E-754D-8A42-41023379A793}" srcOrd="0" destOrd="0" presId="urn:microsoft.com/office/officeart/2005/8/layout/vList2"/>
    <dgm:cxn modelId="{255A76EE-2D75-4363-81B6-4A8E0DB7A4D7}" srcId="{09D00000-01E4-7240-B3B5-9EF2BDA8456C}" destId="{AB3284A4-5C17-4B33-B0AE-E629DF1D4121}" srcOrd="5" destOrd="0" parTransId="{07F4F338-F453-456F-B396-76F6A9692AA9}" sibTransId="{09605F51-6563-4A3D-9323-A0AFBFA89E49}"/>
    <dgm:cxn modelId="{9E44D032-E63D-4C17-839C-31378908909A}" type="presParOf" srcId="{535D7656-D78E-754D-8A42-41023379A793}" destId="{EB766CDB-92AB-7D43-8D75-3B0260F1D040}" srcOrd="0" destOrd="0" presId="urn:microsoft.com/office/officeart/2005/8/layout/vList2"/>
    <dgm:cxn modelId="{6FC3D382-B71F-4ED7-B72E-BD6993CEE949}" type="presParOf" srcId="{535D7656-D78E-754D-8A42-41023379A793}" destId="{93D9FBCF-CE91-FC4F-A175-C58CE81F5B61}" srcOrd="1" destOrd="0" presId="urn:microsoft.com/office/officeart/2005/8/layout/vList2"/>
    <dgm:cxn modelId="{597D0F3A-9F06-4903-B99F-1EFD7466136B}" type="presParOf" srcId="{535D7656-D78E-754D-8A42-41023379A793}" destId="{81CBD360-5CB6-479C-B517-E1235A0806F8}" srcOrd="2" destOrd="0" presId="urn:microsoft.com/office/officeart/2005/8/layout/vList2"/>
    <dgm:cxn modelId="{A8921B13-BA2F-41FC-B27E-5D6EF4C06307}" type="presParOf" srcId="{535D7656-D78E-754D-8A42-41023379A793}" destId="{A42405CC-40BB-4FAF-B5ED-D0BFE60C44A2}" srcOrd="3" destOrd="0" presId="urn:microsoft.com/office/officeart/2005/8/layout/vList2"/>
    <dgm:cxn modelId="{1F6FCDA6-3276-4710-895F-99604AEDED92}" type="presParOf" srcId="{535D7656-D78E-754D-8A42-41023379A793}" destId="{6D9FCCD8-7D92-4140-9508-3521C35B2BF0}" srcOrd="4" destOrd="0" presId="urn:microsoft.com/office/officeart/2005/8/layout/vList2"/>
    <dgm:cxn modelId="{24D04AA5-002B-4DFC-A965-9099EB73A9AE}" type="presParOf" srcId="{535D7656-D78E-754D-8A42-41023379A793}" destId="{41FD89DF-48F9-4E92-939A-329C11866DD1}" srcOrd="5" destOrd="0" presId="urn:microsoft.com/office/officeart/2005/8/layout/vList2"/>
    <dgm:cxn modelId="{03B0D9A4-7BE9-4003-8421-5A6534E50897}" type="presParOf" srcId="{535D7656-D78E-754D-8A42-41023379A793}" destId="{E8ABFFE9-82D4-1344-A286-D3B47991F50F}" srcOrd="6" destOrd="0" presId="urn:microsoft.com/office/officeart/2005/8/layout/vList2"/>
    <dgm:cxn modelId="{2E8238AF-86F7-4D85-8592-D06FE2BCB653}" type="presParOf" srcId="{535D7656-D78E-754D-8A42-41023379A793}" destId="{AE8ABF48-4384-4AA7-B63F-C6C93D34EE34}" srcOrd="7" destOrd="0" presId="urn:microsoft.com/office/officeart/2005/8/layout/vList2"/>
    <dgm:cxn modelId="{8AD6D7D8-6837-4741-A27E-C1CCB5E2AB46}" type="presParOf" srcId="{535D7656-D78E-754D-8A42-41023379A793}" destId="{0AEA479B-0C44-4981-9E89-E893702EFCA2}" srcOrd="8" destOrd="0" presId="urn:microsoft.com/office/officeart/2005/8/layout/vList2"/>
    <dgm:cxn modelId="{14B0A1E4-A410-4123-9034-16EF824C9634}" type="presParOf" srcId="{535D7656-D78E-754D-8A42-41023379A793}" destId="{D7CE2BF2-1E47-4ED7-9C7F-0B73383DBBA4}" srcOrd="9" destOrd="0" presId="urn:microsoft.com/office/officeart/2005/8/layout/vList2"/>
    <dgm:cxn modelId="{0EA501F0-330B-4382-B043-F56D5C42A7F9}" type="presParOf" srcId="{535D7656-D78E-754D-8A42-41023379A793}" destId="{FE8200D6-8CDA-4508-BB73-692B8F37239F}" srcOrd="10" destOrd="0" presId="urn:microsoft.com/office/officeart/2005/8/layout/vList2"/>
    <dgm:cxn modelId="{B81DCAC6-ABB3-4E52-9D6A-5D5FD7CC5D86}" type="presParOf" srcId="{535D7656-D78E-754D-8A42-41023379A793}" destId="{4DB215E5-3526-4B5A-8A0B-9BEA91528D7C}" srcOrd="11" destOrd="0" presId="urn:microsoft.com/office/officeart/2005/8/layout/vList2"/>
    <dgm:cxn modelId="{82E34622-28EB-4D03-8A99-A7C48B5DC3A0}" type="presParOf" srcId="{535D7656-D78E-754D-8A42-41023379A793}" destId="{5D5C00B6-09B0-4235-93BB-BEF88DCD3C5E}" srcOrd="12" destOrd="0" presId="urn:microsoft.com/office/officeart/2005/8/layout/vList2"/>
    <dgm:cxn modelId="{443F6EC1-1D51-43B5-B871-2AE0FF0FAB35}" type="presParOf" srcId="{535D7656-D78E-754D-8A42-41023379A793}" destId="{2AE3F358-2F51-4E5A-915E-48586D79F841}" srcOrd="13" destOrd="0" presId="urn:microsoft.com/office/officeart/2005/8/layout/vList2"/>
    <dgm:cxn modelId="{114CD6F5-CF2D-441B-9088-1B47AD9D92B8}" type="presParOf" srcId="{535D7656-D78E-754D-8A42-41023379A793}" destId="{564A66EA-D62B-48E0-A24F-6040C7FD3113}" srcOrd="1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9CC0A743-864C-4C4C-A6F5-353DEF64D166}" type="doc">
      <dgm:prSet loTypeId="urn:microsoft.com/office/officeart/2005/8/layout/chevron2" loCatId="list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E0B441C5-AE5B-4CF0-BAAD-8ADE7EC1F6F8}">
      <dgm:prSet phldrT="[Texto]"/>
      <dgm:spPr/>
      <dgm:t>
        <a:bodyPr/>
        <a:lstStyle/>
        <a:p>
          <a:r>
            <a:rPr lang="pt-BR" dirty="0"/>
            <a:t> </a:t>
          </a:r>
        </a:p>
      </dgm:t>
    </dgm:pt>
    <dgm:pt modelId="{3BC5C37D-0D82-41A8-BC9A-C334370D4611}" type="parTrans" cxnId="{D6D0A3F0-CCF3-439D-90E4-9FC873536086}">
      <dgm:prSet/>
      <dgm:spPr/>
      <dgm:t>
        <a:bodyPr/>
        <a:lstStyle/>
        <a:p>
          <a:endParaRPr lang="pt-BR"/>
        </a:p>
      </dgm:t>
    </dgm:pt>
    <dgm:pt modelId="{56515670-E3E2-4143-9992-0FAEFC226FF4}" type="sibTrans" cxnId="{D6D0A3F0-CCF3-439D-90E4-9FC873536086}">
      <dgm:prSet/>
      <dgm:spPr/>
      <dgm:t>
        <a:bodyPr/>
        <a:lstStyle/>
        <a:p>
          <a:endParaRPr lang="pt-BR"/>
        </a:p>
      </dgm:t>
    </dgm:pt>
    <dgm:pt modelId="{05581BE4-F654-4D16-82E8-DB5D0797DBA0}">
      <dgm:prSet phldrT="[Texto]"/>
      <dgm:spPr/>
      <dgm:t>
        <a:bodyPr/>
        <a:lstStyle/>
        <a:p>
          <a:r>
            <a:rPr lang="pt-BR" b="1" dirty="0"/>
            <a:t>Conceito previsto em contrato</a:t>
          </a:r>
        </a:p>
      </dgm:t>
    </dgm:pt>
    <dgm:pt modelId="{97CEAB7B-E479-411C-B44E-FBD370C18845}" type="parTrans" cxnId="{5349712C-88E0-4FBC-8DB0-B38D25652123}">
      <dgm:prSet/>
      <dgm:spPr/>
      <dgm:t>
        <a:bodyPr/>
        <a:lstStyle/>
        <a:p>
          <a:endParaRPr lang="pt-BR"/>
        </a:p>
      </dgm:t>
    </dgm:pt>
    <dgm:pt modelId="{8C9ED9C4-EC1A-4198-A6B7-2CC7B99E9E05}" type="sibTrans" cxnId="{5349712C-88E0-4FBC-8DB0-B38D25652123}">
      <dgm:prSet/>
      <dgm:spPr/>
      <dgm:t>
        <a:bodyPr/>
        <a:lstStyle/>
        <a:p>
          <a:endParaRPr lang="pt-BR"/>
        </a:p>
      </dgm:t>
    </dgm:pt>
    <dgm:pt modelId="{FEE26A3F-E5BC-4D1A-98C7-0D1B6D6244D3}">
      <dgm:prSet phldrT="[Texto]"/>
      <dgm:spPr/>
      <dgm:t>
        <a:bodyPr/>
        <a:lstStyle/>
        <a:p>
          <a:r>
            <a:rPr lang="pt-BR" dirty="0"/>
            <a:t> </a:t>
          </a:r>
        </a:p>
      </dgm:t>
    </dgm:pt>
    <dgm:pt modelId="{4C0B5F0D-AB36-413F-9A99-02C9E440448F}" type="parTrans" cxnId="{39D1821B-47C4-4222-BF44-7D84B93784DD}">
      <dgm:prSet/>
      <dgm:spPr/>
      <dgm:t>
        <a:bodyPr/>
        <a:lstStyle/>
        <a:p>
          <a:endParaRPr lang="pt-BR"/>
        </a:p>
      </dgm:t>
    </dgm:pt>
    <dgm:pt modelId="{DDB88AC1-5374-4729-AD38-2D60E2558E42}" type="sibTrans" cxnId="{39D1821B-47C4-4222-BF44-7D84B93784DD}">
      <dgm:prSet/>
      <dgm:spPr/>
      <dgm:t>
        <a:bodyPr/>
        <a:lstStyle/>
        <a:p>
          <a:endParaRPr lang="pt-BR"/>
        </a:p>
      </dgm:t>
    </dgm:pt>
    <dgm:pt modelId="{34A6E52F-823A-4327-8377-DBF51BA0B3E1}">
      <dgm:prSet phldrT="[Texto]"/>
      <dgm:spPr/>
      <dgm:t>
        <a:bodyPr/>
        <a:lstStyle/>
        <a:p>
          <a:r>
            <a:rPr lang="pt-BR" b="1" dirty="0"/>
            <a:t>Gestão dos contratos</a:t>
          </a:r>
        </a:p>
      </dgm:t>
    </dgm:pt>
    <dgm:pt modelId="{769255D6-6751-4776-8ED6-DA44DAD25028}" type="parTrans" cxnId="{CB2B0242-5743-4DD0-89BA-5F9451E5A9A0}">
      <dgm:prSet/>
      <dgm:spPr/>
      <dgm:t>
        <a:bodyPr/>
        <a:lstStyle/>
        <a:p>
          <a:endParaRPr lang="pt-BR"/>
        </a:p>
      </dgm:t>
    </dgm:pt>
    <dgm:pt modelId="{8A508888-D8E4-4F0F-A1C8-5B1C533CA2E1}" type="sibTrans" cxnId="{CB2B0242-5743-4DD0-89BA-5F9451E5A9A0}">
      <dgm:prSet/>
      <dgm:spPr/>
      <dgm:t>
        <a:bodyPr/>
        <a:lstStyle/>
        <a:p>
          <a:endParaRPr lang="pt-BR"/>
        </a:p>
      </dgm:t>
    </dgm:pt>
    <dgm:pt modelId="{D11EA6C7-16D3-4B1B-9B50-0F7B5200FBFA}">
      <dgm:prSet phldrT="[Texto]"/>
      <dgm:spPr/>
      <dgm:t>
        <a:bodyPr/>
        <a:lstStyle/>
        <a:p>
          <a:endParaRPr lang="pt-BR" dirty="0"/>
        </a:p>
      </dgm:t>
    </dgm:pt>
    <dgm:pt modelId="{6D363536-0619-4DEF-86F2-567A36728207}" type="parTrans" cxnId="{896E3338-6B3E-40C4-AA37-A45DF299944B}">
      <dgm:prSet/>
      <dgm:spPr/>
      <dgm:t>
        <a:bodyPr/>
        <a:lstStyle/>
        <a:p>
          <a:endParaRPr lang="pt-BR"/>
        </a:p>
      </dgm:t>
    </dgm:pt>
    <dgm:pt modelId="{0CA71347-C8A1-4CA6-9030-DF73BABBD70E}" type="sibTrans" cxnId="{896E3338-6B3E-40C4-AA37-A45DF299944B}">
      <dgm:prSet/>
      <dgm:spPr/>
      <dgm:t>
        <a:bodyPr/>
        <a:lstStyle/>
        <a:p>
          <a:endParaRPr lang="pt-BR"/>
        </a:p>
      </dgm:t>
    </dgm:pt>
    <dgm:pt modelId="{0B0E01E5-6D8A-4334-9885-7AB0426CA590}">
      <dgm:prSet phldrT="[Texto]"/>
      <dgm:spPr/>
      <dgm:t>
        <a:bodyPr/>
        <a:lstStyle/>
        <a:p>
          <a:endParaRPr lang="pt-BR" dirty="0"/>
        </a:p>
      </dgm:t>
    </dgm:pt>
    <dgm:pt modelId="{23A2F6A6-A38E-4DD4-970D-1ADE393BB6EB}" type="parTrans" cxnId="{B200A6EC-A6AF-40EE-A3EB-E1D6E99CCA7D}">
      <dgm:prSet/>
      <dgm:spPr/>
      <dgm:t>
        <a:bodyPr/>
        <a:lstStyle/>
        <a:p>
          <a:endParaRPr lang="pt-BR"/>
        </a:p>
      </dgm:t>
    </dgm:pt>
    <dgm:pt modelId="{39A59B14-08F0-4B82-9268-5A3CA77E9C8E}" type="sibTrans" cxnId="{B200A6EC-A6AF-40EE-A3EB-E1D6E99CCA7D}">
      <dgm:prSet/>
      <dgm:spPr/>
      <dgm:t>
        <a:bodyPr/>
        <a:lstStyle/>
        <a:p>
          <a:endParaRPr lang="pt-BR"/>
        </a:p>
      </dgm:t>
    </dgm:pt>
    <dgm:pt modelId="{03EDC7E7-F4B6-4CCC-B2A4-F211C56815F3}">
      <dgm:prSet/>
      <dgm:spPr/>
      <dgm:t>
        <a:bodyPr/>
        <a:lstStyle/>
        <a:p>
          <a:r>
            <a:rPr lang="pt-BR" dirty="0"/>
            <a:t>Jurisprudência TCU</a:t>
          </a:r>
        </a:p>
      </dgm:t>
    </dgm:pt>
    <dgm:pt modelId="{25FC676B-43E8-4D2D-BA28-893BC18FB996}" type="parTrans" cxnId="{B14D6D24-574A-4FAF-9DBE-7BDC8C24DDC9}">
      <dgm:prSet/>
      <dgm:spPr/>
      <dgm:t>
        <a:bodyPr/>
        <a:lstStyle/>
        <a:p>
          <a:endParaRPr lang="pt-BR"/>
        </a:p>
      </dgm:t>
    </dgm:pt>
    <dgm:pt modelId="{73418D64-8B43-4708-9107-F7D0B93E9E39}" type="sibTrans" cxnId="{B14D6D24-574A-4FAF-9DBE-7BDC8C24DDC9}">
      <dgm:prSet/>
      <dgm:spPr/>
      <dgm:t>
        <a:bodyPr/>
        <a:lstStyle/>
        <a:p>
          <a:endParaRPr lang="pt-BR"/>
        </a:p>
      </dgm:t>
    </dgm:pt>
    <dgm:pt modelId="{DA6D2CBA-15EE-4871-B7C8-2730B346BD9F}">
      <dgm:prSet phldrT="[Texto]"/>
      <dgm:spPr/>
      <dgm:t>
        <a:bodyPr/>
        <a:lstStyle/>
        <a:p>
          <a:endParaRPr lang="pt-BR" dirty="0"/>
        </a:p>
      </dgm:t>
    </dgm:pt>
    <dgm:pt modelId="{50456651-034E-423F-B3E8-D76C911BFF11}" type="parTrans" cxnId="{2FF224A7-68CB-49D9-8363-6FAF64DE040C}">
      <dgm:prSet/>
      <dgm:spPr/>
      <dgm:t>
        <a:bodyPr/>
        <a:lstStyle/>
        <a:p>
          <a:endParaRPr lang="pt-BR"/>
        </a:p>
      </dgm:t>
    </dgm:pt>
    <dgm:pt modelId="{E33F99CF-1E4F-4724-8B27-0CDC4F8EFDCD}" type="sibTrans" cxnId="{2FF224A7-68CB-49D9-8363-6FAF64DE040C}">
      <dgm:prSet/>
      <dgm:spPr/>
      <dgm:t>
        <a:bodyPr/>
        <a:lstStyle/>
        <a:p>
          <a:endParaRPr lang="pt-BR"/>
        </a:p>
      </dgm:t>
    </dgm:pt>
    <dgm:pt modelId="{4C5F804E-C034-4277-8D20-42AA4E45CAF1}">
      <dgm:prSet/>
      <dgm:spPr/>
      <dgm:t>
        <a:bodyPr/>
        <a:lstStyle/>
        <a:p>
          <a:r>
            <a:rPr lang="pt-BR" dirty="0"/>
            <a:t>Doutrina administrativista </a:t>
          </a:r>
        </a:p>
      </dgm:t>
    </dgm:pt>
    <dgm:pt modelId="{6A2C02E1-2B93-441A-8532-A3074D93F548}" type="parTrans" cxnId="{F19C6962-523E-4EDA-860C-E8B8B3742644}">
      <dgm:prSet/>
      <dgm:spPr/>
      <dgm:t>
        <a:bodyPr/>
        <a:lstStyle/>
        <a:p>
          <a:endParaRPr lang="pt-BR"/>
        </a:p>
      </dgm:t>
    </dgm:pt>
    <dgm:pt modelId="{C16BC34D-89C8-4C75-B865-BA955BE14C03}" type="sibTrans" cxnId="{F19C6962-523E-4EDA-860C-E8B8B3742644}">
      <dgm:prSet/>
      <dgm:spPr/>
      <dgm:t>
        <a:bodyPr/>
        <a:lstStyle/>
        <a:p>
          <a:endParaRPr lang="pt-BR"/>
        </a:p>
      </dgm:t>
    </dgm:pt>
    <dgm:pt modelId="{AF54E50F-69E6-497E-A736-278CD29BA1DF}">
      <dgm:prSet phldrT="[Texto]"/>
      <dgm:spPr/>
      <dgm:t>
        <a:bodyPr/>
        <a:lstStyle/>
        <a:p>
          <a:r>
            <a:rPr lang="pt-BR" dirty="0"/>
            <a:t>Análise individual dos eventos (art. 4)</a:t>
          </a:r>
        </a:p>
      </dgm:t>
    </dgm:pt>
    <dgm:pt modelId="{9A77E696-2709-4600-9CE1-613CF6B413C9}" type="parTrans" cxnId="{11AA619E-660D-4EE2-8D69-65F3663F28DE}">
      <dgm:prSet/>
      <dgm:spPr/>
      <dgm:t>
        <a:bodyPr/>
        <a:lstStyle/>
        <a:p>
          <a:endParaRPr lang="pt-BR"/>
        </a:p>
      </dgm:t>
    </dgm:pt>
    <dgm:pt modelId="{30F6BF13-DEDB-4D49-A55E-749571B7FA45}" type="sibTrans" cxnId="{11AA619E-660D-4EE2-8D69-65F3663F28DE}">
      <dgm:prSet/>
      <dgm:spPr/>
      <dgm:t>
        <a:bodyPr/>
        <a:lstStyle/>
        <a:p>
          <a:endParaRPr lang="pt-BR"/>
        </a:p>
      </dgm:t>
    </dgm:pt>
    <dgm:pt modelId="{EC5294B2-8A9E-4095-8BB0-C134E7A4D1BD}" type="pres">
      <dgm:prSet presAssocID="{9CC0A743-864C-4C4C-A6F5-353DEF64D166}" presName="linearFlow" presStyleCnt="0">
        <dgm:presLayoutVars>
          <dgm:dir/>
          <dgm:animLvl val="lvl"/>
          <dgm:resizeHandles val="exact"/>
        </dgm:presLayoutVars>
      </dgm:prSet>
      <dgm:spPr/>
    </dgm:pt>
    <dgm:pt modelId="{517913D7-6CDC-4806-BF80-1A1A6EE45152}" type="pres">
      <dgm:prSet presAssocID="{E0B441C5-AE5B-4CF0-BAAD-8ADE7EC1F6F8}" presName="composite" presStyleCnt="0"/>
      <dgm:spPr/>
    </dgm:pt>
    <dgm:pt modelId="{D884F48A-9525-4C22-8F2A-BA2C6ABD8029}" type="pres">
      <dgm:prSet presAssocID="{E0B441C5-AE5B-4CF0-BAAD-8ADE7EC1F6F8}" presName="parentText" presStyleLbl="alignNode1" presStyleIdx="0" presStyleCnt="5">
        <dgm:presLayoutVars>
          <dgm:chMax val="1"/>
          <dgm:bulletEnabled val="1"/>
        </dgm:presLayoutVars>
      </dgm:prSet>
      <dgm:spPr/>
    </dgm:pt>
    <dgm:pt modelId="{4A90C877-0315-4D5E-9F8D-85805FEDD18E}" type="pres">
      <dgm:prSet presAssocID="{E0B441C5-AE5B-4CF0-BAAD-8ADE7EC1F6F8}" presName="descendantText" presStyleLbl="alignAcc1" presStyleIdx="0" presStyleCnt="5" custLinFactNeighborX="3381" custLinFactNeighborY="2885">
        <dgm:presLayoutVars>
          <dgm:bulletEnabled val="1"/>
        </dgm:presLayoutVars>
      </dgm:prSet>
      <dgm:spPr/>
    </dgm:pt>
    <dgm:pt modelId="{65FDB644-AE32-4190-9F13-7574D9F41D92}" type="pres">
      <dgm:prSet presAssocID="{56515670-E3E2-4143-9992-0FAEFC226FF4}" presName="sp" presStyleCnt="0"/>
      <dgm:spPr/>
    </dgm:pt>
    <dgm:pt modelId="{26A1B560-67A8-4EB5-96C2-93E4722ABBD1}" type="pres">
      <dgm:prSet presAssocID="{FEE26A3F-E5BC-4D1A-98C7-0D1B6D6244D3}" presName="composite" presStyleCnt="0"/>
      <dgm:spPr/>
    </dgm:pt>
    <dgm:pt modelId="{5243C3D5-1CCC-4D8C-BA97-1FC286302A90}" type="pres">
      <dgm:prSet presAssocID="{FEE26A3F-E5BC-4D1A-98C7-0D1B6D6244D3}" presName="parentText" presStyleLbl="alignNode1" presStyleIdx="1" presStyleCnt="5">
        <dgm:presLayoutVars>
          <dgm:chMax val="1"/>
          <dgm:bulletEnabled val="1"/>
        </dgm:presLayoutVars>
      </dgm:prSet>
      <dgm:spPr/>
    </dgm:pt>
    <dgm:pt modelId="{82AD9CBE-3857-4DFF-AEBC-0B64BE96D1D0}" type="pres">
      <dgm:prSet presAssocID="{FEE26A3F-E5BC-4D1A-98C7-0D1B6D6244D3}" presName="descendantText" presStyleLbl="alignAcc1" presStyleIdx="1" presStyleCnt="5">
        <dgm:presLayoutVars>
          <dgm:bulletEnabled val="1"/>
        </dgm:presLayoutVars>
      </dgm:prSet>
      <dgm:spPr/>
    </dgm:pt>
    <dgm:pt modelId="{DD5CC38B-272F-4EA9-A0B0-510178D1299C}" type="pres">
      <dgm:prSet presAssocID="{DDB88AC1-5374-4729-AD38-2D60E2558E42}" presName="sp" presStyleCnt="0"/>
      <dgm:spPr/>
    </dgm:pt>
    <dgm:pt modelId="{E4C962EE-B7B4-4B24-8D55-09B1A21545A5}" type="pres">
      <dgm:prSet presAssocID="{D11EA6C7-16D3-4B1B-9B50-0F7B5200FBFA}" presName="composite" presStyleCnt="0"/>
      <dgm:spPr/>
    </dgm:pt>
    <dgm:pt modelId="{A54D872D-89B4-4B99-AD95-77508C8D4D8C}" type="pres">
      <dgm:prSet presAssocID="{D11EA6C7-16D3-4B1B-9B50-0F7B5200FBFA}" presName="parentText" presStyleLbl="alignNode1" presStyleIdx="2" presStyleCnt="5">
        <dgm:presLayoutVars>
          <dgm:chMax val="1"/>
          <dgm:bulletEnabled val="1"/>
        </dgm:presLayoutVars>
      </dgm:prSet>
      <dgm:spPr/>
    </dgm:pt>
    <dgm:pt modelId="{AFFEF75E-6975-40D9-AF27-01827236D770}" type="pres">
      <dgm:prSet presAssocID="{D11EA6C7-16D3-4B1B-9B50-0F7B5200FBFA}" presName="descendantText" presStyleLbl="alignAcc1" presStyleIdx="2" presStyleCnt="5">
        <dgm:presLayoutVars>
          <dgm:bulletEnabled val="1"/>
        </dgm:presLayoutVars>
      </dgm:prSet>
      <dgm:spPr/>
    </dgm:pt>
    <dgm:pt modelId="{4985ACA4-ACB1-4902-B12F-9AC36AAFD201}" type="pres">
      <dgm:prSet presAssocID="{0CA71347-C8A1-4CA6-9030-DF73BABBD70E}" presName="sp" presStyleCnt="0"/>
      <dgm:spPr/>
    </dgm:pt>
    <dgm:pt modelId="{C0221E80-ED2A-4DA7-95EC-67CAF1AA8544}" type="pres">
      <dgm:prSet presAssocID="{0B0E01E5-6D8A-4334-9885-7AB0426CA590}" presName="composite" presStyleCnt="0"/>
      <dgm:spPr/>
    </dgm:pt>
    <dgm:pt modelId="{E725CDD1-EC67-41B6-A42E-D34CB7E86C17}" type="pres">
      <dgm:prSet presAssocID="{0B0E01E5-6D8A-4334-9885-7AB0426CA590}" presName="parentText" presStyleLbl="alignNode1" presStyleIdx="3" presStyleCnt="5">
        <dgm:presLayoutVars>
          <dgm:chMax val="1"/>
          <dgm:bulletEnabled val="1"/>
        </dgm:presLayoutVars>
      </dgm:prSet>
      <dgm:spPr/>
    </dgm:pt>
    <dgm:pt modelId="{3BD9761E-A868-48B9-827E-D8CE2992AB1C}" type="pres">
      <dgm:prSet presAssocID="{0B0E01E5-6D8A-4334-9885-7AB0426CA590}" presName="descendantText" presStyleLbl="alignAcc1" presStyleIdx="3" presStyleCnt="5">
        <dgm:presLayoutVars>
          <dgm:bulletEnabled val="1"/>
        </dgm:presLayoutVars>
      </dgm:prSet>
      <dgm:spPr/>
    </dgm:pt>
    <dgm:pt modelId="{1B7D09AE-DC02-4D58-AD7B-B8C7BFABFE55}" type="pres">
      <dgm:prSet presAssocID="{39A59B14-08F0-4B82-9268-5A3CA77E9C8E}" presName="sp" presStyleCnt="0"/>
      <dgm:spPr/>
    </dgm:pt>
    <dgm:pt modelId="{C12B98EF-9EEA-4CAD-9D75-39547B1EF8EE}" type="pres">
      <dgm:prSet presAssocID="{DA6D2CBA-15EE-4871-B7C8-2730B346BD9F}" presName="composite" presStyleCnt="0"/>
      <dgm:spPr/>
    </dgm:pt>
    <dgm:pt modelId="{A844114D-1947-4D2F-9299-E7CA39596EC3}" type="pres">
      <dgm:prSet presAssocID="{DA6D2CBA-15EE-4871-B7C8-2730B346BD9F}" presName="parentText" presStyleLbl="alignNode1" presStyleIdx="4" presStyleCnt="5">
        <dgm:presLayoutVars>
          <dgm:chMax val="1"/>
          <dgm:bulletEnabled val="1"/>
        </dgm:presLayoutVars>
      </dgm:prSet>
      <dgm:spPr/>
    </dgm:pt>
    <dgm:pt modelId="{AB73A3C3-FDEF-49D9-9ACD-B09A239F6F82}" type="pres">
      <dgm:prSet presAssocID="{DA6D2CBA-15EE-4871-B7C8-2730B346BD9F}" presName="descendantText" presStyleLbl="alignAcc1" presStyleIdx="4" presStyleCnt="5">
        <dgm:presLayoutVars>
          <dgm:bulletEnabled val="1"/>
        </dgm:presLayoutVars>
      </dgm:prSet>
      <dgm:spPr/>
    </dgm:pt>
  </dgm:ptLst>
  <dgm:cxnLst>
    <dgm:cxn modelId="{AD2D6900-E03B-4A8A-9961-B057676D92AF}" type="presOf" srcId="{4C5F804E-C034-4277-8D20-42AA4E45CAF1}" destId="{AB73A3C3-FDEF-49D9-9ACD-B09A239F6F82}" srcOrd="0" destOrd="0" presId="urn:microsoft.com/office/officeart/2005/8/layout/chevron2"/>
    <dgm:cxn modelId="{7BC94617-C1F4-43D5-A2C6-635E94303D56}" type="presOf" srcId="{0B0E01E5-6D8A-4334-9885-7AB0426CA590}" destId="{E725CDD1-EC67-41B6-A42E-D34CB7E86C17}" srcOrd="0" destOrd="0" presId="urn:microsoft.com/office/officeart/2005/8/layout/chevron2"/>
    <dgm:cxn modelId="{39D1821B-47C4-4222-BF44-7D84B93784DD}" srcId="{9CC0A743-864C-4C4C-A6F5-353DEF64D166}" destId="{FEE26A3F-E5BC-4D1A-98C7-0D1B6D6244D3}" srcOrd="1" destOrd="0" parTransId="{4C0B5F0D-AB36-413F-9A99-02C9E440448F}" sibTransId="{DDB88AC1-5374-4729-AD38-2D60E2558E42}"/>
    <dgm:cxn modelId="{B14D6D24-574A-4FAF-9DBE-7BDC8C24DDC9}" srcId="{0B0E01E5-6D8A-4334-9885-7AB0426CA590}" destId="{03EDC7E7-F4B6-4CCC-B2A4-F211C56815F3}" srcOrd="0" destOrd="0" parTransId="{25FC676B-43E8-4D2D-BA28-893BC18FB996}" sibTransId="{73418D64-8B43-4708-9107-F7D0B93E9E39}"/>
    <dgm:cxn modelId="{5349712C-88E0-4FBC-8DB0-B38D25652123}" srcId="{E0B441C5-AE5B-4CF0-BAAD-8ADE7EC1F6F8}" destId="{05581BE4-F654-4D16-82E8-DB5D0797DBA0}" srcOrd="0" destOrd="0" parTransId="{97CEAB7B-E479-411C-B44E-FBD370C18845}" sibTransId="{8C9ED9C4-EC1A-4198-A6B7-2CC7B99E9E05}"/>
    <dgm:cxn modelId="{896E3338-6B3E-40C4-AA37-A45DF299944B}" srcId="{9CC0A743-864C-4C4C-A6F5-353DEF64D166}" destId="{D11EA6C7-16D3-4B1B-9B50-0F7B5200FBFA}" srcOrd="2" destOrd="0" parTransId="{6D363536-0619-4DEF-86F2-567A36728207}" sibTransId="{0CA71347-C8A1-4CA6-9030-DF73BABBD70E}"/>
    <dgm:cxn modelId="{CB2B0242-5743-4DD0-89BA-5F9451E5A9A0}" srcId="{FEE26A3F-E5BC-4D1A-98C7-0D1B6D6244D3}" destId="{34A6E52F-823A-4327-8377-DBF51BA0B3E1}" srcOrd="0" destOrd="0" parTransId="{769255D6-6751-4776-8ED6-DA44DAD25028}" sibTransId="{8A508888-D8E4-4F0F-A1C8-5B1C533CA2E1}"/>
    <dgm:cxn modelId="{F19C6962-523E-4EDA-860C-E8B8B3742644}" srcId="{DA6D2CBA-15EE-4871-B7C8-2730B346BD9F}" destId="{4C5F804E-C034-4277-8D20-42AA4E45CAF1}" srcOrd="0" destOrd="0" parTransId="{6A2C02E1-2B93-441A-8532-A3074D93F548}" sibTransId="{C16BC34D-89C8-4C75-B865-BA955BE14C03}"/>
    <dgm:cxn modelId="{051AB679-1978-41CB-8D11-2B66A7784C41}" type="presOf" srcId="{9CC0A743-864C-4C4C-A6F5-353DEF64D166}" destId="{EC5294B2-8A9E-4095-8BB0-C134E7A4D1BD}" srcOrd="0" destOrd="0" presId="urn:microsoft.com/office/officeart/2005/8/layout/chevron2"/>
    <dgm:cxn modelId="{42D0F179-4C7B-45A0-ABF3-157AC489C490}" type="presOf" srcId="{D11EA6C7-16D3-4B1B-9B50-0F7B5200FBFA}" destId="{A54D872D-89B4-4B99-AD95-77508C8D4D8C}" srcOrd="0" destOrd="0" presId="urn:microsoft.com/office/officeart/2005/8/layout/chevron2"/>
    <dgm:cxn modelId="{711C5D8C-22E4-46F6-A26B-B14837AB3891}" type="presOf" srcId="{FEE26A3F-E5BC-4D1A-98C7-0D1B6D6244D3}" destId="{5243C3D5-1CCC-4D8C-BA97-1FC286302A90}" srcOrd="0" destOrd="0" presId="urn:microsoft.com/office/officeart/2005/8/layout/chevron2"/>
    <dgm:cxn modelId="{8DBF898E-29A1-44AC-93C1-E45AEAE96F7A}" type="presOf" srcId="{DA6D2CBA-15EE-4871-B7C8-2730B346BD9F}" destId="{A844114D-1947-4D2F-9299-E7CA39596EC3}" srcOrd="0" destOrd="0" presId="urn:microsoft.com/office/officeart/2005/8/layout/chevron2"/>
    <dgm:cxn modelId="{0C957995-33DD-4AE8-9FF5-5061EFB4EABF}" type="presOf" srcId="{AF54E50F-69E6-497E-A736-278CD29BA1DF}" destId="{AFFEF75E-6975-40D9-AF27-01827236D770}" srcOrd="0" destOrd="0" presId="urn:microsoft.com/office/officeart/2005/8/layout/chevron2"/>
    <dgm:cxn modelId="{3F871D9B-FC51-490A-8849-1DAA74C2687D}" type="presOf" srcId="{E0B441C5-AE5B-4CF0-BAAD-8ADE7EC1F6F8}" destId="{D884F48A-9525-4C22-8F2A-BA2C6ABD8029}" srcOrd="0" destOrd="0" presId="urn:microsoft.com/office/officeart/2005/8/layout/chevron2"/>
    <dgm:cxn modelId="{11AA619E-660D-4EE2-8D69-65F3663F28DE}" srcId="{D11EA6C7-16D3-4B1B-9B50-0F7B5200FBFA}" destId="{AF54E50F-69E6-497E-A736-278CD29BA1DF}" srcOrd="0" destOrd="0" parTransId="{9A77E696-2709-4600-9CE1-613CF6B413C9}" sibTransId="{30F6BF13-DEDB-4D49-A55E-749571B7FA45}"/>
    <dgm:cxn modelId="{2FF224A7-68CB-49D9-8363-6FAF64DE040C}" srcId="{9CC0A743-864C-4C4C-A6F5-353DEF64D166}" destId="{DA6D2CBA-15EE-4871-B7C8-2730B346BD9F}" srcOrd="4" destOrd="0" parTransId="{50456651-034E-423F-B3E8-D76C911BFF11}" sibTransId="{E33F99CF-1E4F-4724-8B27-0CDC4F8EFDCD}"/>
    <dgm:cxn modelId="{E31B30E0-8AEF-4978-A243-8C65BFBF1BD7}" type="presOf" srcId="{05581BE4-F654-4D16-82E8-DB5D0797DBA0}" destId="{4A90C877-0315-4D5E-9F8D-85805FEDD18E}" srcOrd="0" destOrd="0" presId="urn:microsoft.com/office/officeart/2005/8/layout/chevron2"/>
    <dgm:cxn modelId="{0BA41FE5-9304-4EEF-952E-9728F47AE696}" type="presOf" srcId="{03EDC7E7-F4B6-4CCC-B2A4-F211C56815F3}" destId="{3BD9761E-A868-48B9-827E-D8CE2992AB1C}" srcOrd="0" destOrd="0" presId="urn:microsoft.com/office/officeart/2005/8/layout/chevron2"/>
    <dgm:cxn modelId="{B200A6EC-A6AF-40EE-A3EB-E1D6E99CCA7D}" srcId="{9CC0A743-864C-4C4C-A6F5-353DEF64D166}" destId="{0B0E01E5-6D8A-4334-9885-7AB0426CA590}" srcOrd="3" destOrd="0" parTransId="{23A2F6A6-A38E-4DD4-970D-1ADE393BB6EB}" sibTransId="{39A59B14-08F0-4B82-9268-5A3CA77E9C8E}"/>
    <dgm:cxn modelId="{D6D0A3F0-CCF3-439D-90E4-9FC873536086}" srcId="{9CC0A743-864C-4C4C-A6F5-353DEF64D166}" destId="{E0B441C5-AE5B-4CF0-BAAD-8ADE7EC1F6F8}" srcOrd="0" destOrd="0" parTransId="{3BC5C37D-0D82-41A8-BC9A-C334370D4611}" sibTransId="{56515670-E3E2-4143-9992-0FAEFC226FF4}"/>
    <dgm:cxn modelId="{1780D3FC-5BF8-4569-86BB-DB3C105DEFB8}" type="presOf" srcId="{34A6E52F-823A-4327-8377-DBF51BA0B3E1}" destId="{82AD9CBE-3857-4DFF-AEBC-0B64BE96D1D0}" srcOrd="0" destOrd="0" presId="urn:microsoft.com/office/officeart/2005/8/layout/chevron2"/>
    <dgm:cxn modelId="{F149D583-BD8F-47E8-8AA0-188C1F1EB557}" type="presParOf" srcId="{EC5294B2-8A9E-4095-8BB0-C134E7A4D1BD}" destId="{517913D7-6CDC-4806-BF80-1A1A6EE45152}" srcOrd="0" destOrd="0" presId="urn:microsoft.com/office/officeart/2005/8/layout/chevron2"/>
    <dgm:cxn modelId="{FEF1D00A-B515-46FA-A03A-88F65BE71DB5}" type="presParOf" srcId="{517913D7-6CDC-4806-BF80-1A1A6EE45152}" destId="{D884F48A-9525-4C22-8F2A-BA2C6ABD8029}" srcOrd="0" destOrd="0" presId="urn:microsoft.com/office/officeart/2005/8/layout/chevron2"/>
    <dgm:cxn modelId="{90A3CB84-1F11-4DEB-A659-15A13127FB3D}" type="presParOf" srcId="{517913D7-6CDC-4806-BF80-1A1A6EE45152}" destId="{4A90C877-0315-4D5E-9F8D-85805FEDD18E}" srcOrd="1" destOrd="0" presId="urn:microsoft.com/office/officeart/2005/8/layout/chevron2"/>
    <dgm:cxn modelId="{517305CD-0DAF-4EFF-B88D-C71C30461F0C}" type="presParOf" srcId="{EC5294B2-8A9E-4095-8BB0-C134E7A4D1BD}" destId="{65FDB644-AE32-4190-9F13-7574D9F41D92}" srcOrd="1" destOrd="0" presId="urn:microsoft.com/office/officeart/2005/8/layout/chevron2"/>
    <dgm:cxn modelId="{7BFE0CDB-A518-4FBD-9542-C94544241884}" type="presParOf" srcId="{EC5294B2-8A9E-4095-8BB0-C134E7A4D1BD}" destId="{26A1B560-67A8-4EB5-96C2-93E4722ABBD1}" srcOrd="2" destOrd="0" presId="urn:microsoft.com/office/officeart/2005/8/layout/chevron2"/>
    <dgm:cxn modelId="{521A8F8A-FF0F-440D-849E-89DDDD9B6E49}" type="presParOf" srcId="{26A1B560-67A8-4EB5-96C2-93E4722ABBD1}" destId="{5243C3D5-1CCC-4D8C-BA97-1FC286302A90}" srcOrd="0" destOrd="0" presId="urn:microsoft.com/office/officeart/2005/8/layout/chevron2"/>
    <dgm:cxn modelId="{763F792C-40C1-40C2-B047-E0823D26131E}" type="presParOf" srcId="{26A1B560-67A8-4EB5-96C2-93E4722ABBD1}" destId="{82AD9CBE-3857-4DFF-AEBC-0B64BE96D1D0}" srcOrd="1" destOrd="0" presId="urn:microsoft.com/office/officeart/2005/8/layout/chevron2"/>
    <dgm:cxn modelId="{CAC72AC7-34A6-4A07-9D91-C616A152C20B}" type="presParOf" srcId="{EC5294B2-8A9E-4095-8BB0-C134E7A4D1BD}" destId="{DD5CC38B-272F-4EA9-A0B0-510178D1299C}" srcOrd="3" destOrd="0" presId="urn:microsoft.com/office/officeart/2005/8/layout/chevron2"/>
    <dgm:cxn modelId="{B4D6F300-8CF7-4884-B476-558011C06F28}" type="presParOf" srcId="{EC5294B2-8A9E-4095-8BB0-C134E7A4D1BD}" destId="{E4C962EE-B7B4-4B24-8D55-09B1A21545A5}" srcOrd="4" destOrd="0" presId="urn:microsoft.com/office/officeart/2005/8/layout/chevron2"/>
    <dgm:cxn modelId="{158D552C-5CFD-49D1-BE52-1AD4056394B6}" type="presParOf" srcId="{E4C962EE-B7B4-4B24-8D55-09B1A21545A5}" destId="{A54D872D-89B4-4B99-AD95-77508C8D4D8C}" srcOrd="0" destOrd="0" presId="urn:microsoft.com/office/officeart/2005/8/layout/chevron2"/>
    <dgm:cxn modelId="{406002AC-6543-4E4C-B0DD-4897D7D927FF}" type="presParOf" srcId="{E4C962EE-B7B4-4B24-8D55-09B1A21545A5}" destId="{AFFEF75E-6975-40D9-AF27-01827236D770}" srcOrd="1" destOrd="0" presId="urn:microsoft.com/office/officeart/2005/8/layout/chevron2"/>
    <dgm:cxn modelId="{8EEFA4FE-3A88-4E53-AB04-662EF1E93A43}" type="presParOf" srcId="{EC5294B2-8A9E-4095-8BB0-C134E7A4D1BD}" destId="{4985ACA4-ACB1-4902-B12F-9AC36AAFD201}" srcOrd="5" destOrd="0" presId="urn:microsoft.com/office/officeart/2005/8/layout/chevron2"/>
    <dgm:cxn modelId="{BB250FAF-FCB6-438C-8740-D27DB02A5C4A}" type="presParOf" srcId="{EC5294B2-8A9E-4095-8BB0-C134E7A4D1BD}" destId="{C0221E80-ED2A-4DA7-95EC-67CAF1AA8544}" srcOrd="6" destOrd="0" presId="urn:microsoft.com/office/officeart/2005/8/layout/chevron2"/>
    <dgm:cxn modelId="{5542D602-82FD-4F08-A55E-7032C1B67E43}" type="presParOf" srcId="{C0221E80-ED2A-4DA7-95EC-67CAF1AA8544}" destId="{E725CDD1-EC67-41B6-A42E-D34CB7E86C17}" srcOrd="0" destOrd="0" presId="urn:microsoft.com/office/officeart/2005/8/layout/chevron2"/>
    <dgm:cxn modelId="{5BFDE7B4-73F9-4242-9E3A-62AA073C6A69}" type="presParOf" srcId="{C0221E80-ED2A-4DA7-95EC-67CAF1AA8544}" destId="{3BD9761E-A868-48B9-827E-D8CE2992AB1C}" srcOrd="1" destOrd="0" presId="urn:microsoft.com/office/officeart/2005/8/layout/chevron2"/>
    <dgm:cxn modelId="{1513FC1D-7A81-4CDF-A07B-1CE1EEAD1888}" type="presParOf" srcId="{EC5294B2-8A9E-4095-8BB0-C134E7A4D1BD}" destId="{1B7D09AE-DC02-4D58-AD7B-B8C7BFABFE55}" srcOrd="7" destOrd="0" presId="urn:microsoft.com/office/officeart/2005/8/layout/chevron2"/>
    <dgm:cxn modelId="{83563A0E-F326-4C79-B2B8-702E470C2D93}" type="presParOf" srcId="{EC5294B2-8A9E-4095-8BB0-C134E7A4D1BD}" destId="{C12B98EF-9EEA-4CAD-9D75-39547B1EF8EE}" srcOrd="8" destOrd="0" presId="urn:microsoft.com/office/officeart/2005/8/layout/chevron2"/>
    <dgm:cxn modelId="{F708317E-5223-48FF-8B14-40C1FBA897E4}" type="presParOf" srcId="{C12B98EF-9EEA-4CAD-9D75-39547B1EF8EE}" destId="{A844114D-1947-4D2F-9299-E7CA39596EC3}" srcOrd="0" destOrd="0" presId="urn:microsoft.com/office/officeart/2005/8/layout/chevron2"/>
    <dgm:cxn modelId="{393DF207-4DC6-410A-BA59-30B01002BDF8}" type="presParOf" srcId="{C12B98EF-9EEA-4CAD-9D75-39547B1EF8EE}" destId="{AB73A3C3-FDEF-49D9-9ACD-B09A239F6F82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46820562-CAC2-4C85-99E2-8556E99C088D}" type="doc">
      <dgm:prSet loTypeId="urn:microsoft.com/office/officeart/2005/8/layout/default" loCatId="list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6682C8AF-1D5A-4908-879E-B10BA2DE48BC}">
      <dgm:prSet phldrT="[Texto]"/>
      <dgm:spPr>
        <a:solidFill>
          <a:schemeClr val="accent1">
            <a:lumMod val="40000"/>
            <a:lumOff val="60000"/>
          </a:schemeClr>
        </a:solidFill>
      </dgm:spPr>
      <dgm:t>
        <a:bodyPr/>
        <a:lstStyle/>
        <a:p>
          <a:r>
            <a:rPr lang="pt-BR" dirty="0">
              <a:solidFill>
                <a:schemeClr val="tx2">
                  <a:lumMod val="50000"/>
                </a:schemeClr>
              </a:solidFill>
            </a:rPr>
            <a:t>RB totalidade dos aeroportos do Contrato</a:t>
          </a:r>
        </a:p>
      </dgm:t>
    </dgm:pt>
    <dgm:pt modelId="{8D21DA1E-C695-4087-ABEF-C4588E75456A}" type="parTrans" cxnId="{09C22EF8-02B2-4EAF-B69E-94928B9E62C3}">
      <dgm:prSet/>
      <dgm:spPr/>
      <dgm:t>
        <a:bodyPr/>
        <a:lstStyle/>
        <a:p>
          <a:endParaRPr lang="pt-BR"/>
        </a:p>
      </dgm:t>
    </dgm:pt>
    <dgm:pt modelId="{6F43FB00-7E54-405F-B2A3-F2B7A2179027}" type="sibTrans" cxnId="{09C22EF8-02B2-4EAF-B69E-94928B9E62C3}">
      <dgm:prSet/>
      <dgm:spPr/>
      <dgm:t>
        <a:bodyPr/>
        <a:lstStyle/>
        <a:p>
          <a:endParaRPr lang="pt-BR"/>
        </a:p>
      </dgm:t>
    </dgm:pt>
    <dgm:pt modelId="{BD15F5EB-3DCB-47D6-B74C-84DC5DEC133D}" type="pres">
      <dgm:prSet presAssocID="{46820562-CAC2-4C85-99E2-8556E99C088D}" presName="diagram" presStyleCnt="0">
        <dgm:presLayoutVars>
          <dgm:dir/>
          <dgm:resizeHandles val="exact"/>
        </dgm:presLayoutVars>
      </dgm:prSet>
      <dgm:spPr/>
    </dgm:pt>
    <dgm:pt modelId="{98583D8F-9051-44D8-9187-07CDD5BF4D1C}" type="pres">
      <dgm:prSet presAssocID="{6682C8AF-1D5A-4908-879E-B10BA2DE48BC}" presName="node" presStyleLbl="node1" presStyleIdx="0" presStyleCnt="1" custScaleX="126462">
        <dgm:presLayoutVars>
          <dgm:bulletEnabled val="1"/>
        </dgm:presLayoutVars>
      </dgm:prSet>
      <dgm:spPr/>
    </dgm:pt>
  </dgm:ptLst>
  <dgm:cxnLst>
    <dgm:cxn modelId="{4A3F8825-C311-4E4F-A950-2394432EAC74}" type="presOf" srcId="{46820562-CAC2-4C85-99E2-8556E99C088D}" destId="{BD15F5EB-3DCB-47D6-B74C-84DC5DEC133D}" srcOrd="0" destOrd="0" presId="urn:microsoft.com/office/officeart/2005/8/layout/default"/>
    <dgm:cxn modelId="{25044B56-2796-4CD4-9403-EDA984EA4C23}" type="presOf" srcId="{6682C8AF-1D5A-4908-879E-B10BA2DE48BC}" destId="{98583D8F-9051-44D8-9187-07CDD5BF4D1C}" srcOrd="0" destOrd="0" presId="urn:microsoft.com/office/officeart/2005/8/layout/default"/>
    <dgm:cxn modelId="{09C22EF8-02B2-4EAF-B69E-94928B9E62C3}" srcId="{46820562-CAC2-4C85-99E2-8556E99C088D}" destId="{6682C8AF-1D5A-4908-879E-B10BA2DE48BC}" srcOrd="0" destOrd="0" parTransId="{8D21DA1E-C695-4087-ABEF-C4588E75456A}" sibTransId="{6F43FB00-7E54-405F-B2A3-F2B7A2179027}"/>
    <dgm:cxn modelId="{388E90A5-DE80-4C96-99EB-423B5985C6E0}" type="presParOf" srcId="{BD15F5EB-3DCB-47D6-B74C-84DC5DEC133D}" destId="{98583D8F-9051-44D8-9187-07CDD5BF4D1C}" srcOrd="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B766CDB-92AB-7D43-8D75-3B0260F1D040}">
      <dsp:nvSpPr>
        <dsp:cNvPr id="0" name=""/>
        <dsp:cNvSpPr/>
      </dsp:nvSpPr>
      <dsp:spPr>
        <a:xfrm>
          <a:off x="0" y="0"/>
          <a:ext cx="8458200" cy="52038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marR="0" lvl="0" indent="0" algn="l" defTabSz="914400" rtl="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pt-BR" sz="2800" b="1" kern="1200" noProof="0" dirty="0"/>
            <a:t>Objetivo</a:t>
          </a:r>
          <a:endParaRPr lang="pt-BR" sz="2800" kern="1200" noProof="0" dirty="0"/>
        </a:p>
      </dsp:txBody>
      <dsp:txXfrm>
        <a:off x="25403" y="25403"/>
        <a:ext cx="8407394" cy="469576"/>
      </dsp:txXfrm>
    </dsp:sp>
    <dsp:sp modelId="{E8ABFFE9-82D4-1344-A286-D3B47991F50F}">
      <dsp:nvSpPr>
        <dsp:cNvPr id="0" name=""/>
        <dsp:cNvSpPr/>
      </dsp:nvSpPr>
      <dsp:spPr>
        <a:xfrm>
          <a:off x="0" y="664203"/>
          <a:ext cx="8458200" cy="488937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marR="0" lvl="0" indent="0" algn="l" defTabSz="914400" rtl="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pt-BR" sz="2800" b="1" kern="1200" noProof="0"/>
            <a:t>Justificativa</a:t>
          </a:r>
        </a:p>
      </dsp:txBody>
      <dsp:txXfrm>
        <a:off x="23868" y="688071"/>
        <a:ext cx="8410464" cy="441201"/>
      </dsp:txXfrm>
    </dsp:sp>
    <dsp:sp modelId="{0AEA479B-0C44-4981-9E89-E893702EFCA2}">
      <dsp:nvSpPr>
        <dsp:cNvPr id="0" name=""/>
        <dsp:cNvSpPr/>
      </dsp:nvSpPr>
      <dsp:spPr>
        <a:xfrm>
          <a:off x="0" y="1283685"/>
          <a:ext cx="8458200" cy="488937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marR="0" lvl="0" indent="0" algn="l" defTabSz="1244600" rtl="0" eaLnBrk="1" fontAlgn="auto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  <a:tabLst/>
            <a:defRPr/>
          </a:pPr>
          <a:r>
            <a:rPr lang="pt-BR" sz="2800" b="1" kern="1200" noProof="0" dirty="0"/>
            <a:t>Análise</a:t>
          </a:r>
        </a:p>
      </dsp:txBody>
      <dsp:txXfrm>
        <a:off x="23868" y="1307553"/>
        <a:ext cx="8410464" cy="441201"/>
      </dsp:txXfrm>
    </dsp:sp>
    <dsp:sp modelId="{FE8200D6-8CDA-4508-BB73-692B8F37239F}">
      <dsp:nvSpPr>
        <dsp:cNvPr id="0" name=""/>
        <dsp:cNvSpPr/>
      </dsp:nvSpPr>
      <dsp:spPr>
        <a:xfrm>
          <a:off x="878637" y="1919716"/>
          <a:ext cx="7556555" cy="313544"/>
        </a:xfrm>
        <a:prstGeom prst="roundRect">
          <a:avLst/>
        </a:prstGeom>
        <a:solidFill>
          <a:schemeClr val="accent1">
            <a:lumMod val="60000"/>
            <a:lumOff val="4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marR="0" lvl="0" indent="0" algn="l" defTabSz="711200" rtl="0" eaLnBrk="1" fontAlgn="auto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  <a:tabLst/>
            <a:defRPr/>
          </a:pPr>
          <a:r>
            <a:rPr lang="pt-BR" sz="1600" b="0" kern="1200" noProof="0" dirty="0"/>
            <a:t>Sistematização</a:t>
          </a:r>
        </a:p>
      </dsp:txBody>
      <dsp:txXfrm>
        <a:off x="893943" y="1935022"/>
        <a:ext cx="7525943" cy="282932"/>
      </dsp:txXfrm>
    </dsp:sp>
    <dsp:sp modelId="{5D5C00B6-09B0-4235-93BB-BEF88DCD3C5E}">
      <dsp:nvSpPr>
        <dsp:cNvPr id="0" name=""/>
        <dsp:cNvSpPr/>
      </dsp:nvSpPr>
      <dsp:spPr>
        <a:xfrm>
          <a:off x="878637" y="2374381"/>
          <a:ext cx="7556555" cy="313544"/>
        </a:xfrm>
        <a:prstGeom prst="roundRect">
          <a:avLst/>
        </a:prstGeom>
        <a:solidFill>
          <a:schemeClr val="accent1">
            <a:lumMod val="60000"/>
            <a:lumOff val="4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marR="0" lvl="0" indent="0" algn="l" defTabSz="711200" rtl="0" eaLnBrk="1" fontAlgn="auto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  <a:tabLst/>
            <a:defRPr/>
          </a:pPr>
          <a:r>
            <a:rPr lang="pt-BR" sz="1600" b="0" kern="1200" noProof="0" dirty="0"/>
            <a:t>Alteração relevante</a:t>
          </a:r>
        </a:p>
      </dsp:txBody>
      <dsp:txXfrm>
        <a:off x="893943" y="2389687"/>
        <a:ext cx="7525943" cy="282932"/>
      </dsp:txXfrm>
    </dsp:sp>
    <dsp:sp modelId="{564A66EA-D62B-48E0-A24F-6040C7FD3113}">
      <dsp:nvSpPr>
        <dsp:cNvPr id="0" name=""/>
        <dsp:cNvSpPr/>
      </dsp:nvSpPr>
      <dsp:spPr>
        <a:xfrm>
          <a:off x="878637" y="2829045"/>
          <a:ext cx="7556555" cy="313544"/>
        </a:xfrm>
        <a:prstGeom prst="roundRect">
          <a:avLst/>
        </a:prstGeom>
        <a:solidFill>
          <a:schemeClr val="accent1">
            <a:lumMod val="60000"/>
            <a:lumOff val="4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marR="0" lvl="0" indent="0" algn="l" defTabSz="711200" rtl="0" eaLnBrk="1" fontAlgn="auto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  <a:tabLst/>
            <a:defRPr/>
          </a:pPr>
          <a:r>
            <a:rPr lang="pt-BR" sz="1600" b="0" kern="1200" noProof="0" dirty="0"/>
            <a:t>Preclusão</a:t>
          </a:r>
        </a:p>
      </dsp:txBody>
      <dsp:txXfrm>
        <a:off x="893943" y="2844351"/>
        <a:ext cx="7525943" cy="282932"/>
      </dsp:txXfrm>
    </dsp:sp>
    <dsp:sp modelId="{7E5FE135-8792-4816-8766-D8D1C06F020B}">
      <dsp:nvSpPr>
        <dsp:cNvPr id="0" name=""/>
        <dsp:cNvSpPr/>
      </dsp:nvSpPr>
      <dsp:spPr>
        <a:xfrm>
          <a:off x="878637" y="3283710"/>
          <a:ext cx="7556555" cy="313544"/>
        </a:xfrm>
        <a:prstGeom prst="roundRect">
          <a:avLst/>
        </a:prstGeom>
        <a:solidFill>
          <a:schemeClr val="accent1">
            <a:lumMod val="60000"/>
            <a:lumOff val="4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marR="0" lvl="0" indent="0" algn="l" defTabSz="711200" rtl="0" eaLnBrk="1" fontAlgn="auto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  <a:tabLst/>
            <a:defRPr/>
          </a:pPr>
          <a:r>
            <a:rPr lang="pt-BR" sz="1600" b="0" kern="1200" noProof="0" dirty="0"/>
            <a:t>Análise individual</a:t>
          </a:r>
        </a:p>
      </dsp:txBody>
      <dsp:txXfrm>
        <a:off x="893943" y="3299016"/>
        <a:ext cx="7525943" cy="282932"/>
      </dsp:txXfrm>
    </dsp:sp>
    <dsp:sp modelId="{BE58EB93-04C3-43B7-9821-8D9F0EF90A9E}">
      <dsp:nvSpPr>
        <dsp:cNvPr id="0" name=""/>
        <dsp:cNvSpPr/>
      </dsp:nvSpPr>
      <dsp:spPr>
        <a:xfrm>
          <a:off x="878637" y="3738375"/>
          <a:ext cx="7556555" cy="313544"/>
        </a:xfrm>
        <a:prstGeom prst="roundRect">
          <a:avLst/>
        </a:prstGeom>
        <a:solidFill>
          <a:schemeClr val="accent1">
            <a:lumMod val="60000"/>
            <a:lumOff val="4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marR="0" lvl="0" indent="0" algn="l" defTabSz="711200" rtl="0" eaLnBrk="1" fontAlgn="auto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  <a:tabLst/>
            <a:defRPr/>
          </a:pPr>
          <a:r>
            <a:rPr lang="pt-BR" sz="1600" b="0" kern="1200" noProof="0" dirty="0"/>
            <a:t>Pedido de revisão extraordinária</a:t>
          </a:r>
        </a:p>
      </dsp:txBody>
      <dsp:txXfrm>
        <a:off x="893943" y="3753681"/>
        <a:ext cx="7525943" cy="282932"/>
      </dsp:txXfrm>
    </dsp:sp>
    <dsp:sp modelId="{56E9E196-F14C-4637-A0F5-90CC289E7DF6}">
      <dsp:nvSpPr>
        <dsp:cNvPr id="0" name=""/>
        <dsp:cNvSpPr/>
      </dsp:nvSpPr>
      <dsp:spPr>
        <a:xfrm>
          <a:off x="878637" y="4193039"/>
          <a:ext cx="7556555" cy="313544"/>
        </a:xfrm>
        <a:prstGeom prst="roundRect">
          <a:avLst/>
        </a:prstGeom>
        <a:solidFill>
          <a:schemeClr val="accent1">
            <a:lumMod val="60000"/>
            <a:lumOff val="4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marR="0" lvl="0" indent="0" algn="l" defTabSz="711200" rtl="0" eaLnBrk="1" fontAlgn="auto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  <a:tabLst/>
            <a:defRPr/>
          </a:pPr>
          <a:r>
            <a:rPr lang="pt-BR" sz="1600" b="0" kern="1200" noProof="0" dirty="0"/>
            <a:t>Recomposição do EEF</a:t>
          </a:r>
        </a:p>
      </dsp:txBody>
      <dsp:txXfrm>
        <a:off x="893943" y="4208345"/>
        <a:ext cx="7525943" cy="282932"/>
      </dsp:txXfrm>
    </dsp:sp>
    <dsp:sp modelId="{34D7079A-E000-4C9C-8E74-B2CD8BB767AF}">
      <dsp:nvSpPr>
        <dsp:cNvPr id="0" name=""/>
        <dsp:cNvSpPr/>
      </dsp:nvSpPr>
      <dsp:spPr>
        <a:xfrm>
          <a:off x="878637" y="4647704"/>
          <a:ext cx="7556555" cy="313544"/>
        </a:xfrm>
        <a:prstGeom prst="roundRect">
          <a:avLst/>
        </a:prstGeom>
        <a:solidFill>
          <a:schemeClr val="accent1">
            <a:lumMod val="60000"/>
            <a:lumOff val="4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marR="0" lvl="0" indent="0" algn="l" defTabSz="711200" rtl="0" eaLnBrk="1" fontAlgn="auto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  <a:tabLst/>
            <a:defRPr/>
          </a:pPr>
          <a:r>
            <a:rPr lang="pt-BR" sz="1600" b="0" kern="1200" noProof="0" dirty="0"/>
            <a:t>Prazo</a:t>
          </a:r>
        </a:p>
      </dsp:txBody>
      <dsp:txXfrm>
        <a:off x="893943" y="4663010"/>
        <a:ext cx="7525943" cy="282932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8583D8F-9051-44D8-9187-07CDD5BF4D1C}">
      <dsp:nvSpPr>
        <dsp:cNvPr id="0" name=""/>
        <dsp:cNvSpPr/>
      </dsp:nvSpPr>
      <dsp:spPr>
        <a:xfrm>
          <a:off x="292088" y="424"/>
          <a:ext cx="2123007" cy="1007262"/>
        </a:xfrm>
        <a:prstGeom prst="rect">
          <a:avLst/>
        </a:prstGeom>
        <a:solidFill>
          <a:schemeClr val="accent1">
            <a:lumMod val="40000"/>
            <a:lumOff val="6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800" b="1" kern="1200" dirty="0">
              <a:solidFill>
                <a:schemeClr val="tx2">
                  <a:lumMod val="50000"/>
                </a:schemeClr>
              </a:solidFill>
            </a:rPr>
            <a:t>Evento isolado</a:t>
          </a:r>
        </a:p>
      </dsp:txBody>
      <dsp:txXfrm>
        <a:off x="292088" y="424"/>
        <a:ext cx="2123007" cy="1007262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8583D8F-9051-44D8-9187-07CDD5BF4D1C}">
      <dsp:nvSpPr>
        <dsp:cNvPr id="0" name=""/>
        <dsp:cNvSpPr/>
      </dsp:nvSpPr>
      <dsp:spPr>
        <a:xfrm>
          <a:off x="292088" y="424"/>
          <a:ext cx="2123007" cy="1007262"/>
        </a:xfrm>
        <a:prstGeom prst="rect">
          <a:avLst/>
        </a:prstGeom>
        <a:solidFill>
          <a:schemeClr val="accent1">
            <a:lumMod val="40000"/>
            <a:lumOff val="6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5260" tIns="175260" rIns="175260" bIns="175260" numCol="1" spcCol="1270" anchor="ctr" anchorCtr="0">
          <a:noAutofit/>
        </a:bodyPr>
        <a:lstStyle/>
        <a:p>
          <a:pPr marL="0" lvl="0" indent="0" algn="ctr" defTabSz="2044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4600" kern="1200" dirty="0">
              <a:solidFill>
                <a:schemeClr val="tx2">
                  <a:lumMod val="50000"/>
                </a:schemeClr>
              </a:solidFill>
            </a:rPr>
            <a:t>1% RB</a:t>
          </a:r>
        </a:p>
      </dsp:txBody>
      <dsp:txXfrm>
        <a:off x="292088" y="424"/>
        <a:ext cx="2123007" cy="1007262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884F48A-9525-4C22-8F2A-BA2C6ABD8029}">
      <dsp:nvSpPr>
        <dsp:cNvPr id="0" name=""/>
        <dsp:cNvSpPr/>
      </dsp:nvSpPr>
      <dsp:spPr>
        <a:xfrm rot="5400000">
          <a:off x="-145631" y="148104"/>
          <a:ext cx="970879" cy="67961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900" kern="1200" dirty="0"/>
            <a:t> </a:t>
          </a:r>
        </a:p>
      </dsp:txBody>
      <dsp:txXfrm rot="-5400000">
        <a:off x="2" y="342280"/>
        <a:ext cx="679615" cy="291264"/>
      </dsp:txXfrm>
    </dsp:sp>
    <dsp:sp modelId="{4A90C877-0315-4D5E-9F8D-85805FEDD18E}">
      <dsp:nvSpPr>
        <dsp:cNvPr id="0" name=""/>
        <dsp:cNvSpPr/>
      </dsp:nvSpPr>
      <dsp:spPr>
        <a:xfrm rot="5400000">
          <a:off x="2107958" y="-1407663"/>
          <a:ext cx="631071" cy="348775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400" kern="1200" dirty="0"/>
            <a:t>Decreto 20.910/1932</a:t>
          </a:r>
        </a:p>
      </dsp:txBody>
      <dsp:txXfrm rot="-5400000">
        <a:off x="679615" y="51486"/>
        <a:ext cx="3456952" cy="569459"/>
      </dsp:txXfrm>
    </dsp:sp>
    <dsp:sp modelId="{5243C3D5-1CCC-4D8C-BA97-1FC286302A90}">
      <dsp:nvSpPr>
        <dsp:cNvPr id="0" name=""/>
        <dsp:cNvSpPr/>
      </dsp:nvSpPr>
      <dsp:spPr>
        <a:xfrm rot="5400000">
          <a:off x="-145631" y="967539"/>
          <a:ext cx="970879" cy="67961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900" kern="1200" dirty="0"/>
            <a:t> </a:t>
          </a:r>
        </a:p>
      </dsp:txBody>
      <dsp:txXfrm rot="-5400000">
        <a:off x="2" y="1161715"/>
        <a:ext cx="679615" cy="291264"/>
      </dsp:txXfrm>
    </dsp:sp>
    <dsp:sp modelId="{82AD9CBE-3857-4DFF-AEBC-0B64BE96D1D0}">
      <dsp:nvSpPr>
        <dsp:cNvPr id="0" name=""/>
        <dsp:cNvSpPr/>
      </dsp:nvSpPr>
      <dsp:spPr>
        <a:xfrm rot="5400000">
          <a:off x="2107958" y="-606435"/>
          <a:ext cx="631071" cy="348775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400" kern="1200" dirty="0"/>
            <a:t>Jurisprudência TCU</a:t>
          </a:r>
        </a:p>
      </dsp:txBody>
      <dsp:txXfrm rot="-5400000">
        <a:off x="679615" y="852714"/>
        <a:ext cx="3456952" cy="569459"/>
      </dsp:txXfrm>
    </dsp:sp>
    <dsp:sp modelId="{A54D872D-89B4-4B99-AD95-77508C8D4D8C}">
      <dsp:nvSpPr>
        <dsp:cNvPr id="0" name=""/>
        <dsp:cNvSpPr/>
      </dsp:nvSpPr>
      <dsp:spPr>
        <a:xfrm rot="5400000">
          <a:off x="-145631" y="1786974"/>
          <a:ext cx="970879" cy="67961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BR" sz="1900" kern="1200" dirty="0"/>
        </a:p>
      </dsp:txBody>
      <dsp:txXfrm rot="-5400000">
        <a:off x="2" y="1981150"/>
        <a:ext cx="679615" cy="291264"/>
      </dsp:txXfrm>
    </dsp:sp>
    <dsp:sp modelId="{AFFEF75E-6975-40D9-AF27-01827236D770}">
      <dsp:nvSpPr>
        <dsp:cNvPr id="0" name=""/>
        <dsp:cNvSpPr/>
      </dsp:nvSpPr>
      <dsp:spPr>
        <a:xfrm rot="5400000">
          <a:off x="2107958" y="212999"/>
          <a:ext cx="631071" cy="348775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400" kern="1200" dirty="0"/>
            <a:t>Benchmarking</a:t>
          </a:r>
          <a:r>
            <a:rPr lang="pt-BR" sz="1400" kern="1200" baseline="0" dirty="0"/>
            <a:t> regulatório ANTAQ (2 anos)</a:t>
          </a:r>
          <a:endParaRPr lang="pt-BR" sz="1400" kern="1200" dirty="0"/>
        </a:p>
      </dsp:txBody>
      <dsp:txXfrm rot="-5400000">
        <a:off x="679615" y="1672148"/>
        <a:ext cx="3456952" cy="569459"/>
      </dsp:txXfrm>
    </dsp:sp>
    <dsp:sp modelId="{E725CDD1-EC67-41B6-A42E-D34CB7E86C17}">
      <dsp:nvSpPr>
        <dsp:cNvPr id="0" name=""/>
        <dsp:cNvSpPr/>
      </dsp:nvSpPr>
      <dsp:spPr>
        <a:xfrm rot="5400000">
          <a:off x="-145631" y="2606409"/>
          <a:ext cx="970879" cy="67961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BR" sz="1900" kern="1200" dirty="0"/>
        </a:p>
      </dsp:txBody>
      <dsp:txXfrm rot="-5400000">
        <a:off x="2" y="2800585"/>
        <a:ext cx="679615" cy="291264"/>
      </dsp:txXfrm>
    </dsp:sp>
    <dsp:sp modelId="{3BD9761E-A868-48B9-827E-D8CE2992AB1C}">
      <dsp:nvSpPr>
        <dsp:cNvPr id="0" name=""/>
        <dsp:cNvSpPr/>
      </dsp:nvSpPr>
      <dsp:spPr>
        <a:xfrm rot="5400000">
          <a:off x="2107958" y="1032434"/>
          <a:ext cx="631071" cy="348775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400" kern="1200" dirty="0"/>
            <a:t>Doutrina administrativista</a:t>
          </a:r>
        </a:p>
      </dsp:txBody>
      <dsp:txXfrm rot="-5400000">
        <a:off x="679615" y="2491583"/>
        <a:ext cx="3456952" cy="569459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8583D8F-9051-44D8-9187-07CDD5BF4D1C}">
      <dsp:nvSpPr>
        <dsp:cNvPr id="0" name=""/>
        <dsp:cNvSpPr/>
      </dsp:nvSpPr>
      <dsp:spPr>
        <a:xfrm>
          <a:off x="257925" y="0"/>
          <a:ext cx="2123007" cy="1007262"/>
        </a:xfrm>
        <a:prstGeom prst="rect">
          <a:avLst/>
        </a:prstGeom>
        <a:solidFill>
          <a:schemeClr val="accent1">
            <a:lumMod val="40000"/>
            <a:lumOff val="6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5260" tIns="175260" rIns="175260" bIns="175260" numCol="1" spcCol="1270" anchor="ctr" anchorCtr="0">
          <a:noAutofit/>
        </a:bodyPr>
        <a:lstStyle/>
        <a:p>
          <a:pPr marL="0" lvl="0" indent="0" algn="ctr" defTabSz="2044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4600" kern="1200" dirty="0">
              <a:solidFill>
                <a:schemeClr val="tx2">
                  <a:lumMod val="50000"/>
                </a:schemeClr>
              </a:solidFill>
            </a:rPr>
            <a:t>5 anos</a:t>
          </a:r>
        </a:p>
      </dsp:txBody>
      <dsp:txXfrm>
        <a:off x="257925" y="0"/>
        <a:ext cx="2123007" cy="1007262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8583D8F-9051-44D8-9187-07CDD5BF4D1C}">
      <dsp:nvSpPr>
        <dsp:cNvPr id="0" name=""/>
        <dsp:cNvSpPr/>
      </dsp:nvSpPr>
      <dsp:spPr>
        <a:xfrm>
          <a:off x="139689" y="849"/>
          <a:ext cx="2123007" cy="1007262"/>
        </a:xfrm>
        <a:prstGeom prst="rect">
          <a:avLst/>
        </a:prstGeom>
        <a:solidFill>
          <a:schemeClr val="accent1">
            <a:lumMod val="40000"/>
            <a:lumOff val="6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700" kern="1200" dirty="0">
              <a:solidFill>
                <a:schemeClr val="tx2">
                  <a:lumMod val="50000"/>
                </a:schemeClr>
              </a:solidFill>
            </a:rPr>
            <a:t>Marco inicial: data evento</a:t>
          </a:r>
        </a:p>
      </dsp:txBody>
      <dsp:txXfrm>
        <a:off x="139689" y="849"/>
        <a:ext cx="2123007" cy="1007262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8583D8F-9051-44D8-9187-07CDD5BF4D1C}">
      <dsp:nvSpPr>
        <dsp:cNvPr id="0" name=""/>
        <dsp:cNvSpPr/>
      </dsp:nvSpPr>
      <dsp:spPr>
        <a:xfrm>
          <a:off x="139689" y="849"/>
          <a:ext cx="2123007" cy="1007262"/>
        </a:xfrm>
        <a:prstGeom prst="rect">
          <a:avLst/>
        </a:prstGeom>
        <a:solidFill>
          <a:schemeClr val="accent1">
            <a:lumMod val="40000"/>
            <a:lumOff val="6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300" kern="1200" dirty="0">
              <a:solidFill>
                <a:schemeClr val="tx2">
                  <a:lumMod val="50000"/>
                </a:schemeClr>
              </a:solidFill>
            </a:rPr>
            <a:t>Descasamento: data do impacto</a:t>
          </a:r>
        </a:p>
      </dsp:txBody>
      <dsp:txXfrm>
        <a:off x="139689" y="849"/>
        <a:ext cx="2123007" cy="1007262"/>
      </dsp:txXfrm>
    </dsp:sp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D4DE3DB-BE31-46FF-A4A5-8DEEA6F74C72}">
      <dsp:nvSpPr>
        <dsp:cNvPr id="0" name=""/>
        <dsp:cNvSpPr/>
      </dsp:nvSpPr>
      <dsp:spPr>
        <a:xfrm>
          <a:off x="0" y="0"/>
          <a:ext cx="8306274" cy="1473050"/>
        </a:xfrm>
        <a:prstGeom prst="roundRect">
          <a:avLst>
            <a:gd name="adj" fmla="val 10000"/>
          </a:avLst>
        </a:prstGeom>
        <a:solidFill>
          <a:schemeClr val="accent1">
            <a:shade val="5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kern="1200" dirty="0"/>
            <a:t>A Revisão Extraordinária ocorrerá de ofício ou mediante solicitação da Concessionária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kern="1200" dirty="0"/>
            <a:t>(Art. 3º) </a:t>
          </a:r>
        </a:p>
      </dsp:txBody>
      <dsp:txXfrm>
        <a:off x="43144" y="43144"/>
        <a:ext cx="8219986" cy="1386762"/>
      </dsp:txXfrm>
    </dsp:sp>
    <dsp:sp modelId="{E15F0532-3FAE-4DC2-9656-51ED869FA9BE}">
      <dsp:nvSpPr>
        <dsp:cNvPr id="0" name=""/>
        <dsp:cNvSpPr/>
      </dsp:nvSpPr>
      <dsp:spPr>
        <a:xfrm rot="5394636">
          <a:off x="4067504" y="1590325"/>
          <a:ext cx="174106" cy="113661"/>
        </a:xfrm>
        <a:prstGeom prst="rightArrow">
          <a:avLst>
            <a:gd name="adj1" fmla="val 66700"/>
            <a:gd name="adj2" fmla="val 50000"/>
          </a:avLst>
        </a:prstGeom>
        <a:solidFill>
          <a:schemeClr val="accent1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6741DB6D-E1C4-424E-A855-E21E58C99B7E}">
      <dsp:nvSpPr>
        <dsp:cNvPr id="0" name=""/>
        <dsp:cNvSpPr/>
      </dsp:nvSpPr>
      <dsp:spPr>
        <a:xfrm>
          <a:off x="2799" y="1821263"/>
          <a:ext cx="8306274" cy="1419096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55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55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b="0" kern="1200" dirty="0"/>
            <a:t>Apreciação e decisão dos eventos </a:t>
          </a:r>
          <a:r>
            <a:rPr lang="pt-BR" sz="2000" b="1" kern="1200" dirty="0"/>
            <a:t>poderá ser realizada de forma individual </a:t>
          </a:r>
          <a:r>
            <a:rPr lang="pt-BR" sz="2000" b="0" kern="1200" dirty="0"/>
            <a:t>ou conjunta de acordo com o objeto, a motivação ou tipificação de cada evento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b="0" kern="1200" dirty="0"/>
            <a:t>(Art. 4º)</a:t>
          </a:r>
        </a:p>
      </dsp:txBody>
      <dsp:txXfrm>
        <a:off x="44363" y="1862827"/>
        <a:ext cx="8223146" cy="133596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46145AC-110F-4D66-8529-655C7F0D0A67}">
      <dsp:nvSpPr>
        <dsp:cNvPr id="0" name=""/>
        <dsp:cNvSpPr/>
      </dsp:nvSpPr>
      <dsp:spPr>
        <a:xfrm>
          <a:off x="5910" y="0"/>
          <a:ext cx="6051575" cy="1446683"/>
        </a:xfrm>
        <a:prstGeom prst="round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400" b="1" kern="1200" noProof="0" dirty="0">
              <a:solidFill>
                <a:schemeClr val="bg1"/>
              </a:solidFill>
              <a:latin typeface="+mj-lt"/>
            </a:rPr>
            <a:t>Proposta de resolução que substitui e revoga a Resolução 355/2015</a:t>
          </a:r>
          <a:endParaRPr lang="pt-BR" sz="2400" b="0" kern="1200" noProof="0" dirty="0">
            <a:solidFill>
              <a:schemeClr val="bg1"/>
            </a:solidFill>
          </a:endParaRPr>
        </a:p>
      </dsp:txBody>
      <dsp:txXfrm>
        <a:off x="76531" y="70621"/>
        <a:ext cx="5910333" cy="1305441"/>
      </dsp:txXfrm>
    </dsp:sp>
    <dsp:sp modelId="{30793766-07A7-477B-A8CC-CF7C968F4636}">
      <dsp:nvSpPr>
        <dsp:cNvPr id="0" name=""/>
        <dsp:cNvSpPr/>
      </dsp:nvSpPr>
      <dsp:spPr>
        <a:xfrm>
          <a:off x="5910" y="1576815"/>
          <a:ext cx="6051575" cy="1446683"/>
        </a:xfrm>
        <a:prstGeom prst="roundRect">
          <a:avLst/>
        </a:prstGeom>
        <a:solidFill>
          <a:schemeClr val="accent1">
            <a:shade val="80000"/>
            <a:hueOff val="306246"/>
            <a:satOff val="-4392"/>
            <a:lumOff val="25615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400" b="1" kern="1200" noProof="0" dirty="0">
              <a:solidFill>
                <a:schemeClr val="bg1"/>
              </a:solidFill>
              <a:latin typeface="+mj-lt"/>
            </a:rPr>
            <a:t>Aperfeiçoamento dos procedimentos a serem adotados em caso de revisão extraordinária</a:t>
          </a:r>
          <a:endParaRPr lang="pt-BR" sz="2400" b="0" kern="1200" noProof="0" dirty="0">
            <a:solidFill>
              <a:schemeClr val="bg1"/>
            </a:solidFill>
          </a:endParaRPr>
        </a:p>
      </dsp:txBody>
      <dsp:txXfrm>
        <a:off x="76531" y="1647436"/>
        <a:ext cx="5910333" cy="1305441"/>
      </dsp:txXfrm>
    </dsp:sp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D4DE3DB-BE31-46FF-A4A5-8DEEA6F74C72}">
      <dsp:nvSpPr>
        <dsp:cNvPr id="0" name=""/>
        <dsp:cNvSpPr/>
      </dsp:nvSpPr>
      <dsp:spPr>
        <a:xfrm>
          <a:off x="0" y="156132"/>
          <a:ext cx="8199217" cy="922758"/>
        </a:xfrm>
        <a:prstGeom prst="roundRect">
          <a:avLst>
            <a:gd name="adj" fmla="val 10000"/>
          </a:avLst>
        </a:prstGeom>
        <a:solidFill>
          <a:schemeClr val="accent1">
            <a:shade val="5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kern="1200" dirty="0"/>
            <a:t>Pedido de revisão tem que conter todo o conjunto de informações necessárias para que a ANAC consiga replicar seus resultados e analisar a razoabilidade das premissas envolvidas</a:t>
          </a:r>
        </a:p>
      </dsp:txBody>
      <dsp:txXfrm>
        <a:off x="27027" y="183159"/>
        <a:ext cx="8145163" cy="868704"/>
      </dsp:txXfrm>
    </dsp:sp>
    <dsp:sp modelId="{E15F0532-3FAE-4DC2-9656-51ED869FA9BE}">
      <dsp:nvSpPr>
        <dsp:cNvPr id="0" name=""/>
        <dsp:cNvSpPr/>
      </dsp:nvSpPr>
      <dsp:spPr>
        <a:xfrm rot="5386277">
          <a:off x="4021908" y="1183155"/>
          <a:ext cx="160364" cy="112196"/>
        </a:xfrm>
        <a:prstGeom prst="rightArrow">
          <a:avLst>
            <a:gd name="adj1" fmla="val 66700"/>
            <a:gd name="adj2" fmla="val 50000"/>
          </a:avLst>
        </a:prstGeom>
        <a:solidFill>
          <a:schemeClr val="accent1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6741DB6D-E1C4-424E-A855-E21E58C99B7E}">
      <dsp:nvSpPr>
        <dsp:cNvPr id="0" name=""/>
        <dsp:cNvSpPr/>
      </dsp:nvSpPr>
      <dsp:spPr>
        <a:xfrm>
          <a:off x="4847" y="1399616"/>
          <a:ext cx="8199217" cy="864217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55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55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b="0" kern="1200" dirty="0"/>
            <a:t>Conjunto de informações e cálculos realizados devem estar de acordo com as leis, normas tributárias e contábeis</a:t>
          </a:r>
        </a:p>
      </dsp:txBody>
      <dsp:txXfrm>
        <a:off x="30159" y="1424928"/>
        <a:ext cx="8148593" cy="813593"/>
      </dsp:txXfrm>
    </dsp:sp>
  </dsp:spTree>
</dsp:drawing>
</file>

<file path=ppt/diagrams/drawing2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5FC0C6-3F7C-4FEA-88D9-1EFDA05882FF}">
      <dsp:nvSpPr>
        <dsp:cNvPr id="0" name=""/>
        <dsp:cNvSpPr/>
      </dsp:nvSpPr>
      <dsp:spPr>
        <a:xfrm rot="5400000">
          <a:off x="2627673" y="-897019"/>
          <a:ext cx="4919446" cy="6713500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0" lvl="1" indent="0" algn="just" defTabSz="622300">
            <a:lnSpc>
              <a:spcPct val="90000"/>
            </a:lnSpc>
            <a:spcBef>
              <a:spcPct val="0"/>
            </a:spcBef>
            <a:spcAft>
              <a:spcPts val="1200"/>
            </a:spcAft>
            <a:buNone/>
          </a:pPr>
          <a:r>
            <a:rPr lang="pt-BR" altLang="pt-BR" sz="1400" kern="1200" dirty="0">
              <a:solidFill>
                <a:schemeClr val="tx1"/>
              </a:solidFill>
              <a:latin typeface="+mn-lt"/>
            </a:rPr>
            <a:t>Art. 7º. O pedido de Revisão Extraordinária formulado pela Concessionária deverá ser instruído com:</a:t>
          </a:r>
          <a:endParaRPr lang="pt-BR" sz="1400" b="0" i="1" kern="1200" dirty="0">
            <a:solidFill>
              <a:schemeClr val="tx1">
                <a:lumMod val="50000"/>
                <a:lumOff val="50000"/>
              </a:schemeClr>
            </a:solidFill>
            <a:latin typeface="+mn-lt"/>
          </a:endParaRPr>
        </a:p>
        <a:p>
          <a:pPr marL="114300" lvl="1" indent="0" algn="just" defTabSz="622300">
            <a:lnSpc>
              <a:spcPct val="90000"/>
            </a:lnSpc>
            <a:spcBef>
              <a:spcPct val="0"/>
            </a:spcBef>
            <a:spcAft>
              <a:spcPts val="1200"/>
            </a:spcAft>
            <a:buNone/>
          </a:pPr>
          <a:r>
            <a:rPr lang="pt-BR" altLang="pt-BR" sz="1400" kern="1200" dirty="0">
              <a:solidFill>
                <a:schemeClr val="tx1"/>
              </a:solidFill>
              <a:latin typeface="+mn-lt"/>
            </a:rPr>
            <a:t>I – </a:t>
          </a:r>
          <a:r>
            <a:rPr lang="pt-BR" altLang="pt-BR" sz="1400" b="1" kern="1200" dirty="0">
              <a:solidFill>
                <a:schemeClr val="tx1"/>
              </a:solidFill>
              <a:latin typeface="+mn-lt"/>
            </a:rPr>
            <a:t>identificação do risco alocado ao Poder Concedente </a:t>
          </a:r>
          <a:r>
            <a:rPr lang="pt-BR" altLang="pt-BR" sz="1400" kern="1200" dirty="0">
              <a:solidFill>
                <a:schemeClr val="tx1"/>
              </a:solidFill>
              <a:latin typeface="+mn-lt"/>
            </a:rPr>
            <a:t>no Contrato de Concessão que ensejou o pedido de Revisão Extraordinária;</a:t>
          </a:r>
          <a:endParaRPr lang="pt-BR" sz="1400" b="0" i="1" kern="1200" dirty="0">
            <a:solidFill>
              <a:schemeClr val="tx1">
                <a:lumMod val="50000"/>
                <a:lumOff val="50000"/>
              </a:schemeClr>
            </a:solidFill>
            <a:latin typeface="+mn-lt"/>
          </a:endParaRPr>
        </a:p>
        <a:p>
          <a:pPr marL="114300" lvl="1" indent="0" algn="just" defTabSz="622300">
            <a:lnSpc>
              <a:spcPct val="90000"/>
            </a:lnSpc>
            <a:spcBef>
              <a:spcPct val="0"/>
            </a:spcBef>
            <a:spcAft>
              <a:spcPts val="1200"/>
            </a:spcAft>
            <a:buNone/>
          </a:pPr>
          <a:r>
            <a:rPr lang="pt-BR" altLang="pt-BR" sz="1400" kern="1200" dirty="0">
              <a:solidFill>
                <a:schemeClr val="tx1"/>
              </a:solidFill>
              <a:latin typeface="+mn-lt"/>
            </a:rPr>
            <a:t>II – </a:t>
          </a:r>
          <a:r>
            <a:rPr lang="pt-BR" altLang="pt-BR" sz="1400" b="0" kern="1200" dirty="0">
              <a:solidFill>
                <a:schemeClr val="tx1"/>
              </a:solidFill>
              <a:latin typeface="+mn-lt"/>
            </a:rPr>
            <a:t>relatório técnico ou laudo pericial </a:t>
          </a:r>
          <a:r>
            <a:rPr lang="pt-BR" altLang="pt-BR" sz="1400" kern="1200" dirty="0">
              <a:solidFill>
                <a:schemeClr val="tx1"/>
              </a:solidFill>
              <a:latin typeface="+mn-lt"/>
            </a:rPr>
            <a:t>que demonstre o impacto financeiro, verificado e/ou projetado, em decorrência do evento;</a:t>
          </a:r>
        </a:p>
        <a:p>
          <a:pPr marL="114300" lvl="1" indent="0" algn="just" defTabSz="622300">
            <a:lnSpc>
              <a:spcPct val="90000"/>
            </a:lnSpc>
            <a:spcBef>
              <a:spcPct val="0"/>
            </a:spcBef>
            <a:spcAft>
              <a:spcPts val="1200"/>
            </a:spcAft>
            <a:buNone/>
          </a:pPr>
          <a:r>
            <a:rPr lang="pt-BR" altLang="pt-BR" sz="1400" kern="1200" dirty="0">
              <a:solidFill>
                <a:schemeClr val="tx1"/>
              </a:solidFill>
              <a:latin typeface="+mn-lt"/>
            </a:rPr>
            <a:t>III – </a:t>
          </a:r>
          <a:r>
            <a:rPr lang="pt-BR" altLang="pt-BR" sz="1400" b="1" kern="1200" dirty="0">
              <a:solidFill>
                <a:schemeClr val="tx1"/>
              </a:solidFill>
              <a:latin typeface="+mn-lt"/>
            </a:rPr>
            <a:t>planilha eletrônica </a:t>
          </a:r>
          <a:r>
            <a:rPr lang="pt-BR" altLang="pt-BR" sz="1400" b="0" kern="1200" dirty="0">
              <a:solidFill>
                <a:schemeClr val="tx1"/>
              </a:solidFill>
              <a:latin typeface="+mn-lt"/>
            </a:rPr>
            <a:t>em formato Excel</a:t>
          </a:r>
          <a:r>
            <a:rPr lang="pt-BR" altLang="pt-BR" sz="1400" kern="1200" dirty="0">
              <a:solidFill>
                <a:schemeClr val="tx1"/>
              </a:solidFill>
              <a:latin typeface="+mn-lt"/>
            </a:rPr>
            <a:t>, editável, que demonstre o fluxo de caixa marginal, assim como todos os documentos necessários à demonstração do cabimento do pedido;</a:t>
          </a:r>
        </a:p>
        <a:p>
          <a:pPr marL="114300" lvl="1" indent="0" algn="just" defTabSz="622300">
            <a:lnSpc>
              <a:spcPct val="90000"/>
            </a:lnSpc>
            <a:spcBef>
              <a:spcPct val="0"/>
            </a:spcBef>
            <a:spcAft>
              <a:spcPts val="1200"/>
            </a:spcAft>
            <a:buNone/>
          </a:pPr>
          <a:r>
            <a:rPr lang="pt-BR" altLang="pt-BR" sz="1400" kern="1200" dirty="0">
              <a:solidFill>
                <a:schemeClr val="tx1"/>
              </a:solidFill>
              <a:latin typeface="+mn-lt"/>
            </a:rPr>
            <a:t>IV – </a:t>
          </a:r>
          <a:r>
            <a:rPr lang="pt-BR" altLang="pt-BR" sz="1400" b="1" kern="1200" dirty="0">
              <a:solidFill>
                <a:schemeClr val="tx1"/>
              </a:solidFill>
              <a:latin typeface="+mn-lt"/>
            </a:rPr>
            <a:t>projeto básico </a:t>
          </a:r>
          <a:r>
            <a:rPr lang="pt-BR" altLang="pt-BR" sz="1400" kern="1200" dirty="0">
              <a:solidFill>
                <a:schemeClr val="tx1"/>
              </a:solidFill>
              <a:latin typeface="+mn-lt"/>
            </a:rPr>
            <a:t>com todos os elementos necessários à precificação do investimento, quando se tratar de pedidos relativos a investimentos ou serviços que envolvam a </a:t>
          </a:r>
          <a:r>
            <a:rPr lang="pt-BR" altLang="pt-BR" sz="1400" b="1" kern="1200" dirty="0">
              <a:solidFill>
                <a:schemeClr val="tx1"/>
              </a:solidFill>
              <a:latin typeface="+mn-lt"/>
            </a:rPr>
            <a:t>realização de obras</a:t>
          </a:r>
          <a:r>
            <a:rPr lang="pt-BR" altLang="pt-BR" sz="1400" kern="1200" dirty="0">
              <a:solidFill>
                <a:schemeClr val="tx1"/>
              </a:solidFill>
              <a:latin typeface="+mn-lt"/>
            </a:rPr>
            <a:t>, inclusive o orçamento analítico detalhado e outros memoriais, planos e informações que sejam  necessários à instrução do pedido, assim como deverá incluir as estimativas do impacto da obra sobre as receitas da Concessionária, segundo as melhores práticas e critérios de mercado, tudo de acordo com as normas técnicas e diretivas eventualmente estabelecidas pela ANAC sobre o tema;</a:t>
          </a:r>
        </a:p>
        <a:p>
          <a:pPr marL="114300" lvl="1" indent="0" algn="just" defTabSz="622300">
            <a:lnSpc>
              <a:spcPct val="90000"/>
            </a:lnSpc>
            <a:spcBef>
              <a:spcPct val="0"/>
            </a:spcBef>
            <a:spcAft>
              <a:spcPts val="1200"/>
            </a:spcAft>
            <a:buNone/>
          </a:pPr>
          <a:r>
            <a:rPr lang="pt-BR" altLang="pt-BR" sz="1400" kern="1200" dirty="0">
              <a:solidFill>
                <a:schemeClr val="tx1"/>
              </a:solidFill>
              <a:latin typeface="+mn-lt"/>
            </a:rPr>
            <a:t>V – </a:t>
          </a:r>
          <a:r>
            <a:rPr lang="pt-BR" altLang="pt-BR" sz="1400" b="0" kern="1200" dirty="0">
              <a:solidFill>
                <a:schemeClr val="tx1"/>
              </a:solidFill>
              <a:latin typeface="+mn-lt"/>
            </a:rPr>
            <a:t>outros documentos solicitados pela ANAC</a:t>
          </a:r>
          <a:r>
            <a:rPr lang="pt-BR" altLang="pt-BR" sz="1400" kern="1200" dirty="0">
              <a:solidFill>
                <a:schemeClr val="tx1"/>
              </a:solidFill>
              <a:latin typeface="+mn-lt"/>
            </a:rPr>
            <a:t>, assim como laudos econômicos específicos, elaborados por entidades independentes contratadas pela Concessionária a pedido da ANAC.</a:t>
          </a:r>
        </a:p>
      </dsp:txBody>
      <dsp:txXfrm rot="-5400000">
        <a:off x="1730646" y="240156"/>
        <a:ext cx="6473352" cy="4439150"/>
      </dsp:txXfrm>
    </dsp:sp>
    <dsp:sp modelId="{1C479F0B-C610-4C88-A4DB-38C5FDE7CD99}">
      <dsp:nvSpPr>
        <dsp:cNvPr id="0" name=""/>
        <dsp:cNvSpPr/>
      </dsp:nvSpPr>
      <dsp:spPr>
        <a:xfrm>
          <a:off x="52797" y="2402"/>
          <a:ext cx="1677848" cy="4914649"/>
        </a:xfrm>
        <a:prstGeom prst="round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800" b="1" kern="1200" dirty="0">
              <a:latin typeface="+mn-lt"/>
            </a:rPr>
            <a:t>Proposta de redação</a:t>
          </a:r>
        </a:p>
      </dsp:txBody>
      <dsp:txXfrm>
        <a:off x="134703" y="84308"/>
        <a:ext cx="1514036" cy="4750837"/>
      </dsp:txXfrm>
    </dsp:sp>
  </dsp:spTree>
</dsp:drawing>
</file>

<file path=ppt/diagrams/drawing2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561F4AA-CD4B-4B84-B507-D68EDC4BADB8}">
      <dsp:nvSpPr>
        <dsp:cNvPr id="0" name=""/>
        <dsp:cNvSpPr/>
      </dsp:nvSpPr>
      <dsp:spPr>
        <a:xfrm>
          <a:off x="0" y="242645"/>
          <a:ext cx="8426174" cy="1285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53965" tIns="333248" rIns="653965" bIns="85344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400" kern="1200" dirty="0"/>
            <a:t>Caso de não apresentação de itens essenciais à análise</a:t>
          </a:r>
        </a:p>
        <a:p>
          <a:pPr marL="228600" lvl="2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200" b="1" kern="1200" dirty="0"/>
            <a:t>Identificação do risco alocado ao PC</a:t>
          </a:r>
        </a:p>
        <a:p>
          <a:pPr marL="228600" lvl="2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"/>
          </a:pPr>
          <a:r>
            <a:rPr lang="pt-BR" sz="1200" b="1" kern="1200" dirty="0"/>
            <a:t>Planilha eletrônica editável (premissas/cálculos)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400" kern="1200" dirty="0"/>
            <a:t>Não impede novo pleito</a:t>
          </a:r>
        </a:p>
      </dsp:txBody>
      <dsp:txXfrm>
        <a:off x="0" y="242645"/>
        <a:ext cx="8426174" cy="1285200"/>
      </dsp:txXfrm>
    </dsp:sp>
    <dsp:sp modelId="{F3EB4FA7-A4C7-4C94-8DC2-700A8B60517C}">
      <dsp:nvSpPr>
        <dsp:cNvPr id="0" name=""/>
        <dsp:cNvSpPr/>
      </dsp:nvSpPr>
      <dsp:spPr>
        <a:xfrm>
          <a:off x="421308" y="6485"/>
          <a:ext cx="5898321" cy="4723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2943" tIns="0" rIns="222943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600" b="1" kern="1200" dirty="0"/>
            <a:t>Não recebimento</a:t>
          </a:r>
        </a:p>
      </dsp:txBody>
      <dsp:txXfrm>
        <a:off x="444365" y="29542"/>
        <a:ext cx="5852207" cy="426206"/>
      </dsp:txXfrm>
    </dsp:sp>
  </dsp:spTree>
</dsp:drawing>
</file>

<file path=ppt/diagrams/drawing2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561F4AA-CD4B-4B84-B507-D68EDC4BADB8}">
      <dsp:nvSpPr>
        <dsp:cNvPr id="0" name=""/>
        <dsp:cNvSpPr/>
      </dsp:nvSpPr>
      <dsp:spPr>
        <a:xfrm>
          <a:off x="0" y="270264"/>
          <a:ext cx="8426174" cy="14458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53965" tIns="374904" rIns="653965" bIns="85344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300" b="1" kern="1200" dirty="0"/>
            <a:t>Regra: informações públicas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300" b="1" kern="1200" dirty="0"/>
            <a:t>Exceção: tratamento restrito</a:t>
          </a:r>
        </a:p>
        <a:p>
          <a:pPr marL="228600" lvl="2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200" kern="1200" dirty="0"/>
            <a:t>Solicitação motivada</a:t>
          </a:r>
        </a:p>
        <a:p>
          <a:pPr marL="228600" lvl="2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200" kern="1200" dirty="0"/>
            <a:t>Fundamento legal </a:t>
          </a:r>
        </a:p>
        <a:p>
          <a:pPr marL="228600" lvl="2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200" kern="1200" dirty="0"/>
            <a:t>Versão pública</a:t>
          </a:r>
        </a:p>
      </dsp:txBody>
      <dsp:txXfrm>
        <a:off x="0" y="270264"/>
        <a:ext cx="8426174" cy="1445850"/>
      </dsp:txXfrm>
    </dsp:sp>
    <dsp:sp modelId="{F3EB4FA7-A4C7-4C94-8DC2-700A8B60517C}">
      <dsp:nvSpPr>
        <dsp:cNvPr id="0" name=""/>
        <dsp:cNvSpPr/>
      </dsp:nvSpPr>
      <dsp:spPr>
        <a:xfrm>
          <a:off x="421308" y="58188"/>
          <a:ext cx="5898321" cy="5313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2943" tIns="0" rIns="222943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600" b="1" kern="1200" dirty="0"/>
            <a:t>Publicidade</a:t>
          </a:r>
        </a:p>
      </dsp:txBody>
      <dsp:txXfrm>
        <a:off x="447247" y="84127"/>
        <a:ext cx="5846443" cy="479482"/>
      </dsp:txXfrm>
    </dsp:sp>
  </dsp:spTree>
</dsp:drawing>
</file>

<file path=ppt/diagrams/drawing2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5FC0C6-3F7C-4FEA-88D9-1EFDA05882FF}">
      <dsp:nvSpPr>
        <dsp:cNvPr id="0" name=""/>
        <dsp:cNvSpPr/>
      </dsp:nvSpPr>
      <dsp:spPr>
        <a:xfrm rot="5400000">
          <a:off x="2819147" y="-1088494"/>
          <a:ext cx="4536497" cy="6713500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0" lvl="1" indent="0" algn="just" defTabSz="666750">
            <a:lnSpc>
              <a:spcPct val="90000"/>
            </a:lnSpc>
            <a:spcBef>
              <a:spcPct val="0"/>
            </a:spcBef>
            <a:spcAft>
              <a:spcPts val="1200"/>
            </a:spcAft>
            <a:buNone/>
          </a:pPr>
          <a:r>
            <a:rPr lang="pt-BR" altLang="pt-BR" sz="1500" kern="1200" dirty="0">
              <a:solidFill>
                <a:schemeClr val="tx1"/>
              </a:solidFill>
              <a:latin typeface="+mn-lt"/>
            </a:rPr>
            <a:t>Art. 7º. O pedido de Revisão Extraordinária formulado pela Concessionária deverá ser instruído com:</a:t>
          </a:r>
          <a:endParaRPr lang="pt-BR" sz="1500" b="0" i="1" kern="1200" dirty="0">
            <a:solidFill>
              <a:schemeClr val="tx1">
                <a:lumMod val="50000"/>
                <a:lumOff val="50000"/>
              </a:schemeClr>
            </a:solidFill>
            <a:latin typeface="+mn-lt"/>
          </a:endParaRPr>
        </a:p>
        <a:p>
          <a:pPr marL="114300" lvl="1" indent="0" algn="just" defTabSz="666750">
            <a:lnSpc>
              <a:spcPct val="90000"/>
            </a:lnSpc>
            <a:spcBef>
              <a:spcPct val="0"/>
            </a:spcBef>
            <a:spcAft>
              <a:spcPts val="1200"/>
            </a:spcAft>
            <a:buNone/>
          </a:pPr>
          <a:r>
            <a:rPr lang="pt-BR" altLang="pt-BR" sz="1500" kern="1200" dirty="0">
              <a:solidFill>
                <a:schemeClr val="tx1"/>
              </a:solidFill>
              <a:latin typeface="+mn-lt"/>
            </a:rPr>
            <a:t>§6º Na hipótese de não apresentação de itens essenciais à análise do pedido de Revisão Extraordinária, tais como a identificação do risco alocado ao Poder Concedente no Contrato de Concessão e a planilha eletrônica editável que apresente as premissas e os cálculos necessários para a replicação dos resultados apresentados, </a:t>
          </a:r>
          <a:r>
            <a:rPr lang="pt-BR" altLang="pt-BR" sz="1500" b="1" kern="1200" dirty="0">
              <a:solidFill>
                <a:schemeClr val="tx1"/>
              </a:solidFill>
              <a:latin typeface="+mn-lt"/>
            </a:rPr>
            <a:t>o pedido de Revisão Extraordinária não será recebido</a:t>
          </a:r>
          <a:r>
            <a:rPr lang="pt-BR" altLang="pt-BR" sz="1500" kern="1200" dirty="0">
              <a:solidFill>
                <a:schemeClr val="tx1"/>
              </a:solidFill>
              <a:latin typeface="+mn-lt"/>
            </a:rPr>
            <a:t>, não impedindo novo pedido referente ao mesmo evento.</a:t>
          </a:r>
        </a:p>
        <a:p>
          <a:pPr marL="114300" lvl="1" indent="0" algn="just" defTabSz="666750">
            <a:lnSpc>
              <a:spcPct val="90000"/>
            </a:lnSpc>
            <a:spcBef>
              <a:spcPct val="0"/>
            </a:spcBef>
            <a:spcAft>
              <a:spcPts val="1200"/>
            </a:spcAft>
            <a:buNone/>
          </a:pPr>
          <a:r>
            <a:rPr lang="pt-BR" altLang="pt-BR" sz="1500" kern="1200" dirty="0">
              <a:solidFill>
                <a:schemeClr val="tx1"/>
              </a:solidFill>
              <a:latin typeface="+mn-lt"/>
            </a:rPr>
            <a:t>§7º Os pedidos de Revisão Extraordinária, em especial no que se refere à descrição dos eventos pleiteados e respectivos valores, </a:t>
          </a:r>
          <a:r>
            <a:rPr lang="pt-BR" altLang="pt-BR" sz="1500" b="1" kern="1200" dirty="0">
              <a:solidFill>
                <a:schemeClr val="tx1"/>
              </a:solidFill>
              <a:latin typeface="+mn-lt"/>
            </a:rPr>
            <a:t>serão tratados sempre como informações públicas</a:t>
          </a:r>
          <a:r>
            <a:rPr lang="pt-BR" altLang="pt-BR" sz="1500" kern="1200" dirty="0">
              <a:solidFill>
                <a:schemeClr val="tx1"/>
              </a:solidFill>
              <a:latin typeface="+mn-lt"/>
            </a:rPr>
            <a:t>, sendo reservada a possibilidade de tratamento restrito em relação a informações específicas, desde que a solicitação seja adequadamente motivada, indique o devido embasamento legal e venha acompanhada de versão pública, enviada preferencialmente em formato digital, de todos os documentos que integrem o pedido.</a:t>
          </a:r>
          <a:r>
            <a:rPr lang="pt-BR" altLang="pt-BR" sz="1500" kern="1200" dirty="0">
              <a:solidFill>
                <a:schemeClr val="tx1"/>
              </a:solidFill>
              <a:latin typeface="Times New Roman" panose="02020603050405020304" pitchFamily="18" charset="0"/>
            </a:rPr>
            <a:t> </a:t>
          </a:r>
          <a:endParaRPr lang="pt-BR" altLang="pt-BR" sz="1500" kern="1200" dirty="0">
            <a:solidFill>
              <a:schemeClr val="tx1"/>
            </a:solidFill>
            <a:latin typeface="+mn-lt"/>
          </a:endParaRPr>
        </a:p>
      </dsp:txBody>
      <dsp:txXfrm rot="-5400000">
        <a:off x="1730646" y="221461"/>
        <a:ext cx="6492046" cy="4093589"/>
      </dsp:txXfrm>
    </dsp:sp>
    <dsp:sp modelId="{1C479F0B-C610-4C88-A4DB-38C5FDE7CD99}">
      <dsp:nvSpPr>
        <dsp:cNvPr id="0" name=""/>
        <dsp:cNvSpPr/>
      </dsp:nvSpPr>
      <dsp:spPr>
        <a:xfrm>
          <a:off x="52797" y="2215"/>
          <a:ext cx="1677848" cy="4532073"/>
        </a:xfrm>
        <a:prstGeom prst="round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800" b="1" kern="1200" dirty="0">
              <a:latin typeface="+mn-lt"/>
            </a:rPr>
            <a:t>Proposta de redação</a:t>
          </a:r>
        </a:p>
      </dsp:txBody>
      <dsp:txXfrm>
        <a:off x="134703" y="84121"/>
        <a:ext cx="1514036" cy="4368261"/>
      </dsp:txXfrm>
    </dsp:sp>
  </dsp:spTree>
</dsp:drawing>
</file>

<file path=ppt/diagrams/drawing2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3025F19-DEDA-41B3-B79C-D4BF8DC81D3C}">
      <dsp:nvSpPr>
        <dsp:cNvPr id="0" name=""/>
        <dsp:cNvSpPr/>
      </dsp:nvSpPr>
      <dsp:spPr>
        <a:xfrm rot="10800000" flipV="1">
          <a:off x="218462" y="0"/>
          <a:ext cx="4088963" cy="675384"/>
        </a:xfrm>
        <a:prstGeom prst="roundRect">
          <a:avLst>
            <a:gd name="adj" fmla="val 10000"/>
          </a:avLst>
        </a:prstGeom>
        <a:solidFill>
          <a:schemeClr val="accent3">
            <a:lumMod val="7500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pt-BR" sz="2000" b="1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Deferimento pela área técnica</a:t>
          </a:r>
        </a:p>
        <a:p>
          <a:pPr marL="0"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b="0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(manifestação sobre mérito e valor)</a:t>
          </a:r>
        </a:p>
      </dsp:txBody>
      <dsp:txXfrm rot="-10800000">
        <a:off x="238243" y="19781"/>
        <a:ext cx="4049401" cy="635822"/>
      </dsp:txXfrm>
    </dsp:sp>
  </dsp:spTree>
</dsp:drawing>
</file>

<file path=ppt/diagrams/drawing2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3025F19-DEDA-41B3-B79C-D4BF8DC81D3C}">
      <dsp:nvSpPr>
        <dsp:cNvPr id="0" name=""/>
        <dsp:cNvSpPr/>
      </dsp:nvSpPr>
      <dsp:spPr>
        <a:xfrm rot="10800000" flipV="1">
          <a:off x="0" y="29722"/>
          <a:ext cx="3756219" cy="690357"/>
        </a:xfrm>
        <a:prstGeom prst="roundRect">
          <a:avLst>
            <a:gd name="adj" fmla="val 10000"/>
          </a:avLst>
        </a:prstGeom>
        <a:solidFill>
          <a:schemeClr val="accent3">
            <a:lumMod val="7500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b="1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Manifestação da Concessionária </a:t>
          </a:r>
          <a:r>
            <a:rPr lang="pt-BR" sz="1400" b="0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(metodologia/premissas)</a:t>
          </a:r>
        </a:p>
      </dsp:txBody>
      <dsp:txXfrm rot="-10800000">
        <a:off x="20220" y="49942"/>
        <a:ext cx="3715779" cy="649917"/>
      </dsp:txXfrm>
    </dsp:sp>
  </dsp:spTree>
</dsp:drawing>
</file>

<file path=ppt/diagrams/drawing2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3025F19-DEDA-41B3-B79C-D4BF8DC81D3C}">
      <dsp:nvSpPr>
        <dsp:cNvPr id="0" name=""/>
        <dsp:cNvSpPr/>
      </dsp:nvSpPr>
      <dsp:spPr>
        <a:xfrm rot="10800000" flipV="1">
          <a:off x="8" y="166666"/>
          <a:ext cx="2892043" cy="935433"/>
        </a:xfrm>
        <a:prstGeom prst="roundRect">
          <a:avLst>
            <a:gd name="adj" fmla="val 10000"/>
          </a:avLst>
        </a:prstGeom>
        <a:solidFill>
          <a:schemeClr val="accent3">
            <a:lumMod val="7500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pt-BR" sz="2000" b="1" kern="1200" dirty="0"/>
            <a:t>Decisão Diretoria ANAC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pt-BR" sz="1400" b="0" kern="1200" dirty="0"/>
            <a:t>(instância recursal)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pt-BR" sz="1400" b="0" kern="1200" dirty="0"/>
            <a:t>(forma do reequilíbrio - MTPA) </a:t>
          </a:r>
        </a:p>
      </dsp:txBody>
      <dsp:txXfrm rot="-10800000">
        <a:off x="27406" y="194064"/>
        <a:ext cx="2837247" cy="880637"/>
      </dsp:txXfrm>
    </dsp:sp>
  </dsp:spTree>
</dsp:drawing>
</file>

<file path=ppt/diagrams/drawing2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5FC0C6-3F7C-4FEA-88D9-1EFDA05882FF}">
      <dsp:nvSpPr>
        <dsp:cNvPr id="0" name=""/>
        <dsp:cNvSpPr/>
      </dsp:nvSpPr>
      <dsp:spPr>
        <a:xfrm rot="5400000">
          <a:off x="3505226" y="-1774575"/>
          <a:ext cx="3164340" cy="6713500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0" lvl="1" indent="0" algn="just" defTabSz="533400">
            <a:lnSpc>
              <a:spcPct val="90000"/>
            </a:lnSpc>
            <a:spcBef>
              <a:spcPct val="0"/>
            </a:spcBef>
            <a:spcAft>
              <a:spcPts val="1200"/>
            </a:spcAft>
            <a:buNone/>
          </a:pPr>
          <a:endParaRPr lang="pt-BR" sz="1200" b="0" i="1" kern="1200" dirty="0">
            <a:solidFill>
              <a:schemeClr val="tx1">
                <a:lumMod val="50000"/>
                <a:lumOff val="50000"/>
              </a:schemeClr>
            </a:solidFill>
            <a:latin typeface="+mn-lt"/>
          </a:endParaRPr>
        </a:p>
        <a:p>
          <a:pPr marL="0" lvl="1" indent="0" algn="just" defTabSz="533400">
            <a:lnSpc>
              <a:spcPct val="90000"/>
            </a:lnSpc>
            <a:spcBef>
              <a:spcPct val="0"/>
            </a:spcBef>
            <a:spcAft>
              <a:spcPts val="1200"/>
            </a:spcAft>
            <a:buFont typeface="+mj-lt"/>
            <a:buNone/>
          </a:pPr>
          <a:r>
            <a:rPr lang="pt-BR" sz="1600" kern="1200" dirty="0">
              <a:solidFill>
                <a:prstClr val="black"/>
              </a:solidFill>
              <a:latin typeface="Calibri"/>
              <a:ea typeface="+mn-ea"/>
              <a:cs typeface="+mn-cs"/>
            </a:rPr>
            <a:t>Art. 8º</a:t>
          </a:r>
          <a:r>
            <a:rPr lang="pt-BR" sz="1600" b="1" kern="1200" dirty="0">
              <a:solidFill>
                <a:prstClr val="black"/>
              </a:solidFill>
              <a:latin typeface="Calibri"/>
              <a:ea typeface="+mn-ea"/>
              <a:cs typeface="+mn-cs"/>
            </a:rPr>
            <a:t>. Na hipótese de deferimento </a:t>
          </a:r>
          <a:r>
            <a:rPr lang="pt-BR" sz="1600" kern="1200" dirty="0">
              <a:solidFill>
                <a:prstClr val="black"/>
              </a:solidFill>
              <a:latin typeface="Calibri"/>
              <a:ea typeface="+mn-ea"/>
              <a:cs typeface="+mn-cs"/>
            </a:rPr>
            <a:t>do pedido pela área técnica, a Concessionária será instada a manifestar-se acerca da </a:t>
          </a:r>
          <a:r>
            <a:rPr lang="pt-BR" sz="1600" b="1" kern="1200" dirty="0">
              <a:solidFill>
                <a:prstClr val="black"/>
              </a:solidFill>
              <a:latin typeface="Calibri"/>
              <a:ea typeface="+mn-ea"/>
              <a:cs typeface="+mn-cs"/>
            </a:rPr>
            <a:t>metodologia e premissas </a:t>
          </a:r>
          <a:r>
            <a:rPr lang="pt-BR" sz="1600" kern="1200" dirty="0">
              <a:solidFill>
                <a:prstClr val="black"/>
              </a:solidFill>
              <a:latin typeface="Calibri"/>
              <a:ea typeface="+mn-ea"/>
              <a:cs typeface="+mn-cs"/>
            </a:rPr>
            <a:t>utilizadas no cálculo dos valores da recomposição do equilíbrio econômico-financeiro </a:t>
          </a:r>
          <a:r>
            <a:rPr lang="pt-BR" sz="1600" b="1" kern="1200" dirty="0">
              <a:solidFill>
                <a:prstClr val="black"/>
              </a:solidFill>
              <a:latin typeface="Calibri"/>
              <a:ea typeface="+mn-ea"/>
              <a:cs typeface="+mn-cs"/>
            </a:rPr>
            <a:t>antes do encaminhamento à Diretoria para decisão.</a:t>
          </a:r>
        </a:p>
      </dsp:txBody>
      <dsp:txXfrm rot="-5400000">
        <a:off x="1730646" y="154475"/>
        <a:ext cx="6559030" cy="2855400"/>
      </dsp:txXfrm>
    </dsp:sp>
    <dsp:sp modelId="{1C479F0B-C610-4C88-A4DB-38C5FDE7CD99}">
      <dsp:nvSpPr>
        <dsp:cNvPr id="0" name=""/>
        <dsp:cNvSpPr/>
      </dsp:nvSpPr>
      <dsp:spPr>
        <a:xfrm>
          <a:off x="52797" y="1545"/>
          <a:ext cx="1677848" cy="3161254"/>
        </a:xfrm>
        <a:prstGeom prst="round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800" b="1" kern="1200" dirty="0">
              <a:latin typeface="+mn-lt"/>
            </a:rPr>
            <a:t>Proposta de redação</a:t>
          </a:r>
        </a:p>
      </dsp:txBody>
      <dsp:txXfrm>
        <a:off x="134703" y="83451"/>
        <a:ext cx="1514036" cy="299744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884F48A-9525-4C22-8F2A-BA2C6ABD8029}">
      <dsp:nvSpPr>
        <dsp:cNvPr id="0" name=""/>
        <dsp:cNvSpPr/>
      </dsp:nvSpPr>
      <dsp:spPr>
        <a:xfrm rot="5400000">
          <a:off x="-117372" y="118388"/>
          <a:ext cx="782482" cy="54773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500" kern="1200" dirty="0"/>
            <a:t> </a:t>
          </a:r>
        </a:p>
      </dsp:txBody>
      <dsp:txXfrm rot="-5400000">
        <a:off x="1" y="274885"/>
        <a:ext cx="547737" cy="234745"/>
      </dsp:txXfrm>
    </dsp:sp>
    <dsp:sp modelId="{4A90C877-0315-4D5E-9F8D-85805FEDD18E}">
      <dsp:nvSpPr>
        <dsp:cNvPr id="0" name=""/>
        <dsp:cNvSpPr/>
      </dsp:nvSpPr>
      <dsp:spPr>
        <a:xfrm rot="5400000">
          <a:off x="3115906" y="-2568168"/>
          <a:ext cx="508613" cy="564495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5240" rIns="15240" bIns="152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2400" kern="1200" dirty="0"/>
            <a:t>Maior eficiência</a:t>
          </a:r>
        </a:p>
      </dsp:txBody>
      <dsp:txXfrm rot="-5400000">
        <a:off x="547738" y="24828"/>
        <a:ext cx="5620122" cy="458957"/>
      </dsp:txXfrm>
    </dsp:sp>
    <dsp:sp modelId="{5243C3D5-1CCC-4D8C-BA97-1FC286302A90}">
      <dsp:nvSpPr>
        <dsp:cNvPr id="0" name=""/>
        <dsp:cNvSpPr/>
      </dsp:nvSpPr>
      <dsp:spPr>
        <a:xfrm rot="5400000">
          <a:off x="-117372" y="736550"/>
          <a:ext cx="782482" cy="54773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500" kern="1200" dirty="0"/>
            <a:t> </a:t>
          </a:r>
        </a:p>
      </dsp:txBody>
      <dsp:txXfrm rot="-5400000">
        <a:off x="1" y="893047"/>
        <a:ext cx="547737" cy="234745"/>
      </dsp:txXfrm>
    </dsp:sp>
    <dsp:sp modelId="{82AD9CBE-3857-4DFF-AEBC-0B64BE96D1D0}">
      <dsp:nvSpPr>
        <dsp:cNvPr id="0" name=""/>
        <dsp:cNvSpPr/>
      </dsp:nvSpPr>
      <dsp:spPr>
        <a:xfrm rot="5400000">
          <a:off x="3115906" y="-1948990"/>
          <a:ext cx="508613" cy="564495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5240" rIns="15240" bIns="152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2400" kern="1200" baseline="0" dirty="0"/>
            <a:t>Maior </a:t>
          </a:r>
          <a:r>
            <a:rPr lang="pt-BR" sz="2400" kern="1200" dirty="0"/>
            <a:t>segurança jurídica</a:t>
          </a:r>
        </a:p>
      </dsp:txBody>
      <dsp:txXfrm rot="-5400000">
        <a:off x="547738" y="644006"/>
        <a:ext cx="5620122" cy="458957"/>
      </dsp:txXfrm>
    </dsp:sp>
    <dsp:sp modelId="{5DEB32E2-2893-493A-8C80-E6268B41D4C1}">
      <dsp:nvSpPr>
        <dsp:cNvPr id="0" name=""/>
        <dsp:cNvSpPr/>
      </dsp:nvSpPr>
      <dsp:spPr>
        <a:xfrm rot="5400000">
          <a:off x="-117372" y="1354711"/>
          <a:ext cx="782482" cy="54773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500" kern="1200" dirty="0"/>
            <a:t> </a:t>
          </a:r>
        </a:p>
      </dsp:txBody>
      <dsp:txXfrm rot="-5400000">
        <a:off x="1" y="1511208"/>
        <a:ext cx="547737" cy="234745"/>
      </dsp:txXfrm>
    </dsp:sp>
    <dsp:sp modelId="{25E796D9-56DB-45E8-853F-AD7F3A858318}">
      <dsp:nvSpPr>
        <dsp:cNvPr id="0" name=""/>
        <dsp:cNvSpPr/>
      </dsp:nvSpPr>
      <dsp:spPr>
        <a:xfrm rot="5400000">
          <a:off x="3115906" y="-1330829"/>
          <a:ext cx="508613" cy="564495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5240" rIns="15240" bIns="152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2400" kern="1200" dirty="0"/>
            <a:t>Mais transparência</a:t>
          </a:r>
        </a:p>
      </dsp:txBody>
      <dsp:txXfrm rot="-5400000">
        <a:off x="547738" y="1262167"/>
        <a:ext cx="5620122" cy="458957"/>
      </dsp:txXfrm>
    </dsp:sp>
  </dsp:spTree>
</dsp:drawing>
</file>

<file path=ppt/diagrams/drawing3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3025F19-DEDA-41B3-B79C-D4BF8DC81D3C}">
      <dsp:nvSpPr>
        <dsp:cNvPr id="0" name=""/>
        <dsp:cNvSpPr/>
      </dsp:nvSpPr>
      <dsp:spPr>
        <a:xfrm rot="10800000" flipV="1">
          <a:off x="0" y="111899"/>
          <a:ext cx="4088793" cy="691668"/>
        </a:xfrm>
        <a:prstGeom prst="roundRect">
          <a:avLst>
            <a:gd name="adj" fmla="val 10000"/>
          </a:avLst>
        </a:prstGeom>
        <a:solidFill>
          <a:schemeClr val="accent3">
            <a:lumMod val="7500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pt-BR" sz="2000" b="1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Indeferimento pela área técnica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pt-BR" sz="1400" b="0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(decisão de 1ª instância - delegada)</a:t>
          </a:r>
        </a:p>
      </dsp:txBody>
      <dsp:txXfrm rot="-10800000">
        <a:off x="20258" y="132157"/>
        <a:ext cx="4048277" cy="651152"/>
      </dsp:txXfrm>
    </dsp:sp>
  </dsp:spTree>
</dsp:drawing>
</file>

<file path=ppt/diagrams/drawing3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3025F19-DEDA-41B3-B79C-D4BF8DC81D3C}">
      <dsp:nvSpPr>
        <dsp:cNvPr id="0" name=""/>
        <dsp:cNvSpPr/>
      </dsp:nvSpPr>
      <dsp:spPr>
        <a:xfrm rot="10800000" flipV="1">
          <a:off x="0" y="1"/>
          <a:ext cx="2700298" cy="740957"/>
        </a:xfrm>
        <a:prstGeom prst="roundRect">
          <a:avLst>
            <a:gd name="adj" fmla="val 10000"/>
          </a:avLst>
        </a:prstGeom>
        <a:solidFill>
          <a:schemeClr val="accent3">
            <a:lumMod val="7500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b="1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Recurso Concessionária </a:t>
          </a:r>
          <a:r>
            <a:rPr lang="pt-BR" sz="1400" b="0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(10 dias)</a:t>
          </a:r>
        </a:p>
      </dsp:txBody>
      <dsp:txXfrm rot="-10800000">
        <a:off x="21702" y="21703"/>
        <a:ext cx="2656894" cy="697553"/>
      </dsp:txXfrm>
    </dsp:sp>
  </dsp:spTree>
</dsp:drawing>
</file>

<file path=ppt/diagrams/drawing3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3025F19-DEDA-41B3-B79C-D4BF8DC81D3C}">
      <dsp:nvSpPr>
        <dsp:cNvPr id="0" name=""/>
        <dsp:cNvSpPr/>
      </dsp:nvSpPr>
      <dsp:spPr>
        <a:xfrm rot="10800000" flipV="1">
          <a:off x="2248" y="73841"/>
          <a:ext cx="2892483" cy="575976"/>
        </a:xfrm>
        <a:prstGeom prst="roundRect">
          <a:avLst>
            <a:gd name="adj" fmla="val 10000"/>
          </a:avLst>
        </a:prstGeom>
        <a:solidFill>
          <a:schemeClr val="accent3">
            <a:lumMod val="7500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pt-BR" sz="2000" b="1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Decisão Diretoria ANAC</a:t>
          </a:r>
        </a:p>
        <a:p>
          <a:pPr marL="0"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b="0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(instância recursal)</a:t>
          </a:r>
        </a:p>
      </dsp:txBody>
      <dsp:txXfrm rot="-10800000">
        <a:off x="19118" y="90711"/>
        <a:ext cx="2858743" cy="542236"/>
      </dsp:txXfrm>
    </dsp:sp>
  </dsp:spTree>
</dsp:drawing>
</file>

<file path=ppt/diagrams/drawing3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3025F19-DEDA-41B3-B79C-D4BF8DC81D3C}">
      <dsp:nvSpPr>
        <dsp:cNvPr id="0" name=""/>
        <dsp:cNvSpPr/>
      </dsp:nvSpPr>
      <dsp:spPr>
        <a:xfrm rot="10800000" flipV="1">
          <a:off x="0" y="0"/>
          <a:ext cx="3719346" cy="656062"/>
        </a:xfrm>
        <a:prstGeom prst="roundRect">
          <a:avLst>
            <a:gd name="adj" fmla="val 10000"/>
          </a:avLst>
        </a:prstGeom>
        <a:solidFill>
          <a:schemeClr val="accent3">
            <a:lumMod val="7500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b="1" kern="1200" dirty="0"/>
            <a:t>Reconsideração pela área técnica</a:t>
          </a:r>
        </a:p>
      </dsp:txBody>
      <dsp:txXfrm rot="-10800000">
        <a:off x="19215" y="19215"/>
        <a:ext cx="3680916" cy="617632"/>
      </dsp:txXfrm>
    </dsp:sp>
  </dsp:spTree>
</dsp:drawing>
</file>

<file path=ppt/diagrams/drawing3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5FC0C6-3F7C-4FEA-88D9-1EFDA05882FF}">
      <dsp:nvSpPr>
        <dsp:cNvPr id="0" name=""/>
        <dsp:cNvSpPr/>
      </dsp:nvSpPr>
      <dsp:spPr>
        <a:xfrm rot="5400000">
          <a:off x="3109182" y="-1378530"/>
          <a:ext cx="3956427" cy="6713500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0" lvl="1" indent="0" algn="just" defTabSz="533400">
            <a:lnSpc>
              <a:spcPct val="90000"/>
            </a:lnSpc>
            <a:spcBef>
              <a:spcPct val="0"/>
            </a:spcBef>
            <a:spcAft>
              <a:spcPts val="1200"/>
            </a:spcAft>
            <a:buNone/>
          </a:pPr>
          <a:r>
            <a:rPr lang="pt-BR" sz="1600" kern="1200" dirty="0">
              <a:solidFill>
                <a:prstClr val="black"/>
              </a:solidFill>
              <a:latin typeface="Calibri"/>
              <a:ea typeface="+mn-ea"/>
              <a:cs typeface="+mn-cs"/>
            </a:rPr>
            <a:t>Art. 9º. </a:t>
          </a:r>
          <a:r>
            <a:rPr lang="pt-BR" sz="1600" b="1" kern="1200" dirty="0">
              <a:solidFill>
                <a:prstClr val="black"/>
              </a:solidFill>
              <a:latin typeface="Calibri"/>
              <a:ea typeface="+mn-ea"/>
              <a:cs typeface="+mn-cs"/>
            </a:rPr>
            <a:t>Na hipótese de indeferimento </a:t>
          </a:r>
          <a:r>
            <a:rPr lang="pt-BR" sz="1600" kern="1200" dirty="0">
              <a:solidFill>
                <a:prstClr val="black"/>
              </a:solidFill>
              <a:latin typeface="Calibri"/>
              <a:ea typeface="+mn-ea"/>
              <a:cs typeface="+mn-cs"/>
            </a:rPr>
            <a:t>do pedido pela área técnica, a ANAC oficiará à Concessionária acerca de sua decisão,</a:t>
          </a:r>
          <a:r>
            <a:rPr lang="pt-BR" sz="1600" b="1" kern="1200" dirty="0">
              <a:solidFill>
                <a:prstClr val="black"/>
              </a:solidFill>
              <a:latin typeface="Calibri"/>
              <a:ea typeface="+mn-ea"/>
              <a:cs typeface="+mn-cs"/>
            </a:rPr>
            <a:t> em primeira instância</a:t>
          </a:r>
          <a:r>
            <a:rPr lang="pt-BR" sz="1600" kern="1200" dirty="0">
              <a:solidFill>
                <a:prstClr val="black"/>
              </a:solidFill>
              <a:latin typeface="Calibri"/>
              <a:ea typeface="+mn-ea"/>
              <a:cs typeface="+mn-cs"/>
            </a:rPr>
            <a:t>, em relação ao evento que ensejou o pedido de Revisão Extraordinária e encaminhará a nota técnica com a motivação para que dela tome conhecimento.</a:t>
          </a:r>
        </a:p>
        <a:p>
          <a:pPr marL="0" lvl="1" indent="0" algn="just" defTabSz="533400">
            <a:lnSpc>
              <a:spcPct val="90000"/>
            </a:lnSpc>
            <a:spcBef>
              <a:spcPct val="0"/>
            </a:spcBef>
            <a:spcAft>
              <a:spcPts val="1200"/>
            </a:spcAft>
            <a:buFont typeface="Calibri"/>
            <a:buNone/>
          </a:pPr>
          <a:r>
            <a:rPr lang="pt-BR" sz="1600" kern="1200" dirty="0">
              <a:solidFill>
                <a:prstClr val="black"/>
              </a:solidFill>
              <a:latin typeface="Calibri"/>
              <a:ea typeface="+mn-ea"/>
              <a:cs typeface="+mn-cs"/>
            </a:rPr>
            <a:t>Art. 10. A Concessionária terá o </a:t>
          </a:r>
          <a:r>
            <a:rPr lang="pt-BR" sz="1600" b="1" kern="1200" dirty="0">
              <a:solidFill>
                <a:prstClr val="black"/>
              </a:solidFill>
              <a:latin typeface="Calibri"/>
              <a:ea typeface="+mn-ea"/>
              <a:cs typeface="+mn-cs"/>
            </a:rPr>
            <a:t>prazo de 10 (dez) dias </a:t>
          </a:r>
          <a:r>
            <a:rPr lang="pt-BR" sz="1600" kern="1200" dirty="0">
              <a:solidFill>
                <a:prstClr val="black"/>
              </a:solidFill>
              <a:latin typeface="Calibri"/>
              <a:ea typeface="+mn-ea"/>
              <a:cs typeface="+mn-cs"/>
            </a:rPr>
            <a:t>para interposição de recurso administrativo, contado a partir da ciência ou divulgação oficial da decisão recorrida.</a:t>
          </a:r>
        </a:p>
        <a:p>
          <a:pPr marL="0" lvl="1" indent="0" algn="just" defTabSz="533400">
            <a:lnSpc>
              <a:spcPct val="90000"/>
            </a:lnSpc>
            <a:spcBef>
              <a:spcPct val="0"/>
            </a:spcBef>
            <a:spcAft>
              <a:spcPts val="1200"/>
            </a:spcAft>
            <a:buFont typeface="Calibri"/>
            <a:buNone/>
          </a:pPr>
          <a:r>
            <a:rPr lang="pt-BR" sz="1600" kern="1200" dirty="0">
              <a:solidFill>
                <a:prstClr val="black"/>
              </a:solidFill>
              <a:latin typeface="Calibri"/>
              <a:ea typeface="+mn-ea"/>
              <a:cs typeface="+mn-cs"/>
            </a:rPr>
            <a:t>Art. 11. A instância que proferiu a decisão fará seu </a:t>
          </a:r>
          <a:r>
            <a:rPr lang="pt-BR" sz="1600" b="1" kern="1200" dirty="0">
              <a:solidFill>
                <a:prstClr val="black"/>
              </a:solidFill>
              <a:latin typeface="Calibri"/>
              <a:ea typeface="+mn-ea"/>
              <a:cs typeface="+mn-cs"/>
            </a:rPr>
            <a:t>juízo de reconsideração </a:t>
          </a:r>
          <a:r>
            <a:rPr lang="pt-BR" sz="1600" kern="1200" dirty="0">
              <a:solidFill>
                <a:prstClr val="black"/>
              </a:solidFill>
              <a:latin typeface="Calibri"/>
              <a:ea typeface="+mn-ea"/>
              <a:cs typeface="+mn-cs"/>
            </a:rPr>
            <a:t>levando em conta as alegações apresentadas pela Concessionária no recurso.</a:t>
          </a:r>
        </a:p>
        <a:p>
          <a:pPr marL="0" lvl="1" indent="0" algn="just" defTabSz="533400">
            <a:lnSpc>
              <a:spcPct val="90000"/>
            </a:lnSpc>
            <a:spcBef>
              <a:spcPct val="0"/>
            </a:spcBef>
            <a:spcAft>
              <a:spcPts val="1200"/>
            </a:spcAft>
            <a:buFont typeface="Calibri"/>
            <a:buNone/>
          </a:pPr>
          <a:r>
            <a:rPr lang="pt-BR" sz="1600" kern="1200" dirty="0">
              <a:solidFill>
                <a:prstClr val="black"/>
              </a:solidFill>
              <a:latin typeface="Calibri"/>
              <a:ea typeface="+mn-ea"/>
              <a:cs typeface="+mn-cs"/>
            </a:rPr>
            <a:t>Parágrafo único: No caso de não reconsideração da decisão de que trata o art. 9º, a área técnica encaminhará o </a:t>
          </a:r>
          <a:r>
            <a:rPr lang="pt-BR" sz="1600" b="1" kern="1200" dirty="0">
              <a:solidFill>
                <a:prstClr val="black"/>
              </a:solidFill>
              <a:latin typeface="Calibri"/>
              <a:ea typeface="+mn-ea"/>
              <a:cs typeface="+mn-cs"/>
            </a:rPr>
            <a:t>recurso à Diretoria para decisão</a:t>
          </a:r>
          <a:r>
            <a:rPr lang="pt-BR" sz="1600" b="0" kern="1200" dirty="0">
              <a:solidFill>
                <a:prstClr val="black"/>
              </a:solidFill>
              <a:latin typeface="Calibri"/>
              <a:ea typeface="+mn-ea"/>
              <a:cs typeface="+mn-cs"/>
            </a:rPr>
            <a:t>.</a:t>
          </a:r>
        </a:p>
      </dsp:txBody>
      <dsp:txXfrm rot="-5400000">
        <a:off x="1730646" y="193143"/>
        <a:ext cx="6520363" cy="3570153"/>
      </dsp:txXfrm>
    </dsp:sp>
    <dsp:sp modelId="{1C479F0B-C610-4C88-A4DB-38C5FDE7CD99}">
      <dsp:nvSpPr>
        <dsp:cNvPr id="0" name=""/>
        <dsp:cNvSpPr/>
      </dsp:nvSpPr>
      <dsp:spPr>
        <a:xfrm>
          <a:off x="52797" y="3863"/>
          <a:ext cx="1677848" cy="3952569"/>
        </a:xfrm>
        <a:prstGeom prst="round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800" b="1" kern="1200" dirty="0">
              <a:latin typeface="+mn-lt"/>
            </a:rPr>
            <a:t>Proposta de redação</a:t>
          </a:r>
        </a:p>
      </dsp:txBody>
      <dsp:txXfrm>
        <a:off x="134703" y="85769"/>
        <a:ext cx="1514036" cy="3788757"/>
      </dsp:txXfrm>
    </dsp:sp>
  </dsp:spTree>
</dsp:drawing>
</file>

<file path=ppt/diagrams/drawing3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3025F19-DEDA-41B3-B79C-D4BF8DC81D3C}">
      <dsp:nvSpPr>
        <dsp:cNvPr id="0" name=""/>
        <dsp:cNvSpPr/>
      </dsp:nvSpPr>
      <dsp:spPr>
        <a:xfrm rot="10800000" flipV="1">
          <a:off x="0" y="111899"/>
          <a:ext cx="4088793" cy="691668"/>
        </a:xfrm>
        <a:prstGeom prst="roundRect">
          <a:avLst>
            <a:gd name="adj" fmla="val 10000"/>
          </a:avLst>
        </a:prstGeom>
        <a:solidFill>
          <a:schemeClr val="accent3">
            <a:lumMod val="7500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pt-BR" sz="2000" b="1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Novo investimento ou serviço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pt-BR" sz="1400" b="0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(não previsto e solicitado pela ANAC)</a:t>
          </a:r>
        </a:p>
      </dsp:txBody>
      <dsp:txXfrm rot="-10800000">
        <a:off x="20258" y="132157"/>
        <a:ext cx="4048277" cy="651152"/>
      </dsp:txXfrm>
    </dsp:sp>
  </dsp:spTree>
</dsp:drawing>
</file>

<file path=ppt/diagrams/drawing3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3025F19-DEDA-41B3-B79C-D4BF8DC81D3C}">
      <dsp:nvSpPr>
        <dsp:cNvPr id="0" name=""/>
        <dsp:cNvSpPr/>
      </dsp:nvSpPr>
      <dsp:spPr>
        <a:xfrm rot="10800000" flipV="1">
          <a:off x="1" y="1039"/>
          <a:ext cx="3063914" cy="739919"/>
        </a:xfrm>
        <a:prstGeom prst="roundRect">
          <a:avLst>
            <a:gd name="adj" fmla="val 10000"/>
          </a:avLst>
        </a:prstGeom>
        <a:solidFill>
          <a:schemeClr val="accent3">
            <a:lumMod val="7500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pt-BR" sz="2000" b="1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Projeto básico e executivo </a:t>
          </a:r>
        </a:p>
        <a:p>
          <a:pPr marL="0"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b="0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(precificação e impactos)</a:t>
          </a:r>
        </a:p>
      </dsp:txBody>
      <dsp:txXfrm rot="-10800000">
        <a:off x="21672" y="22710"/>
        <a:ext cx="3020572" cy="696577"/>
      </dsp:txXfrm>
    </dsp:sp>
  </dsp:spTree>
</dsp:drawing>
</file>

<file path=ppt/diagrams/drawing3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3025F19-DEDA-41B3-B79C-D4BF8DC81D3C}">
      <dsp:nvSpPr>
        <dsp:cNvPr id="0" name=""/>
        <dsp:cNvSpPr/>
      </dsp:nvSpPr>
      <dsp:spPr>
        <a:xfrm rot="10800000" flipV="1">
          <a:off x="46619" y="640"/>
          <a:ext cx="3647000" cy="655421"/>
        </a:xfrm>
        <a:prstGeom prst="roundRect">
          <a:avLst>
            <a:gd name="adj" fmla="val 10000"/>
          </a:avLst>
        </a:prstGeom>
        <a:solidFill>
          <a:schemeClr val="accent3">
            <a:lumMod val="7500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pt-BR" sz="2000" b="1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Análise e aprovação pela ANAC</a:t>
          </a:r>
        </a:p>
        <a:p>
          <a:pPr marL="0"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b="0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(45 dias)</a:t>
          </a:r>
        </a:p>
      </dsp:txBody>
      <dsp:txXfrm rot="-10800000">
        <a:off x="65816" y="19837"/>
        <a:ext cx="3608606" cy="617027"/>
      </dsp:txXfrm>
    </dsp:sp>
  </dsp:spTree>
</dsp:drawing>
</file>

<file path=ppt/diagrams/drawing3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5FC0C6-3F7C-4FEA-88D9-1EFDA05882FF}">
      <dsp:nvSpPr>
        <dsp:cNvPr id="0" name=""/>
        <dsp:cNvSpPr/>
      </dsp:nvSpPr>
      <dsp:spPr>
        <a:xfrm rot="5400000">
          <a:off x="2819147" y="-1088494"/>
          <a:ext cx="4536497" cy="6713500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0" lvl="1" indent="0" algn="just" defTabSz="533400">
            <a:lnSpc>
              <a:spcPct val="90000"/>
            </a:lnSpc>
            <a:spcBef>
              <a:spcPct val="0"/>
            </a:spcBef>
            <a:spcAft>
              <a:spcPts val="1200"/>
            </a:spcAft>
            <a:buNone/>
          </a:pPr>
          <a:r>
            <a:rPr lang="pt-BR" altLang="pt-BR" sz="1200" kern="1200" dirty="0">
              <a:solidFill>
                <a:schemeClr val="tx1"/>
              </a:solidFill>
              <a:latin typeface="+mn-lt"/>
            </a:rPr>
            <a:t>Art. 12. Na hipótese de novos investimentos ou serviços solicitados pela ANAC e não previstos no Contrato, a ANAC poderá requerer à Concessionária, previamente à instauração do processo de Revisão Extraordinária, </a:t>
          </a:r>
          <a:r>
            <a:rPr lang="pt-BR" altLang="pt-BR" sz="1200" b="1" kern="1200" dirty="0">
              <a:solidFill>
                <a:schemeClr val="tx1"/>
              </a:solidFill>
              <a:latin typeface="+mn-lt"/>
            </a:rPr>
            <a:t>a elaboração do projeto básico e executivo das obras e serviços</a:t>
          </a:r>
          <a:r>
            <a:rPr lang="pt-BR" altLang="pt-BR" sz="1200" kern="1200" dirty="0">
              <a:solidFill>
                <a:schemeClr val="tx1"/>
              </a:solidFill>
              <a:latin typeface="+mn-lt"/>
            </a:rPr>
            <a:t>, considerando que:</a:t>
          </a:r>
          <a:endParaRPr lang="pt-BR" sz="1200" b="0" i="1" kern="1200" dirty="0">
            <a:solidFill>
              <a:schemeClr val="tx1">
                <a:lumMod val="50000"/>
                <a:lumOff val="50000"/>
              </a:schemeClr>
            </a:solidFill>
            <a:latin typeface="+mn-lt"/>
          </a:endParaRPr>
        </a:p>
        <a:p>
          <a:pPr marL="114300" lvl="1" indent="0" algn="just" defTabSz="533400">
            <a:lnSpc>
              <a:spcPct val="90000"/>
            </a:lnSpc>
            <a:spcBef>
              <a:spcPct val="0"/>
            </a:spcBef>
            <a:spcAft>
              <a:spcPts val="1200"/>
            </a:spcAft>
            <a:buNone/>
          </a:pPr>
          <a:r>
            <a:rPr lang="pt-BR" altLang="pt-BR" sz="1200" kern="1200" dirty="0">
              <a:solidFill>
                <a:schemeClr val="tx1"/>
              </a:solidFill>
              <a:latin typeface="+mn-lt"/>
            </a:rPr>
            <a:t>I – os referidos projetos deverão conter todos os elementos necessários à </a:t>
          </a:r>
          <a:r>
            <a:rPr lang="pt-BR" altLang="pt-BR" sz="1200" b="1" kern="1200" dirty="0">
              <a:solidFill>
                <a:schemeClr val="tx1"/>
              </a:solidFill>
              <a:latin typeface="+mn-lt"/>
            </a:rPr>
            <a:t>precificação do investimento e às estimativas do impacto da obra sobre as receitas da Concessionária</a:t>
          </a:r>
          <a:r>
            <a:rPr lang="pt-BR" altLang="pt-BR" sz="1200" kern="1200" dirty="0">
              <a:solidFill>
                <a:schemeClr val="tx1"/>
              </a:solidFill>
              <a:latin typeface="+mn-lt"/>
            </a:rPr>
            <a:t>, segundo as melhores práticas e critérios de mercado, tudo de acordo com as normas técnicas e diretivas eventualmente estabelecidas pela ANAC sobre o assunto;</a:t>
          </a:r>
        </a:p>
        <a:p>
          <a:pPr marL="114300" lvl="1" indent="0" algn="just" defTabSz="533400">
            <a:lnSpc>
              <a:spcPct val="90000"/>
            </a:lnSpc>
            <a:spcBef>
              <a:spcPct val="0"/>
            </a:spcBef>
            <a:spcAft>
              <a:spcPts val="1200"/>
            </a:spcAft>
            <a:buNone/>
          </a:pPr>
          <a:r>
            <a:rPr lang="pt-BR" altLang="pt-BR" sz="1200" kern="1200" dirty="0">
              <a:solidFill>
                <a:schemeClr val="tx1"/>
              </a:solidFill>
              <a:latin typeface="+mn-lt"/>
            </a:rPr>
            <a:t>II – a ANAC estabelecerá o valor limite do custo dos projetos e estudos a serem considerados para efeito de recomposição do equilíbrio econômico-financeiro;</a:t>
          </a:r>
        </a:p>
        <a:p>
          <a:pPr marL="114300" lvl="1" indent="0" algn="just" defTabSz="533400">
            <a:lnSpc>
              <a:spcPct val="90000"/>
            </a:lnSpc>
            <a:spcBef>
              <a:spcPct val="0"/>
            </a:spcBef>
            <a:spcAft>
              <a:spcPts val="1200"/>
            </a:spcAft>
            <a:buNone/>
          </a:pPr>
          <a:r>
            <a:rPr lang="pt-BR" altLang="pt-BR" sz="1200" kern="1200" dirty="0">
              <a:solidFill>
                <a:schemeClr val="tx1"/>
              </a:solidFill>
              <a:latin typeface="+mn-lt"/>
            </a:rPr>
            <a:t>III - no prazo máximo de </a:t>
          </a:r>
          <a:r>
            <a:rPr lang="pt-BR" altLang="pt-BR" sz="1200" b="1" kern="1200" dirty="0">
              <a:solidFill>
                <a:schemeClr val="tx1"/>
              </a:solidFill>
              <a:latin typeface="+mn-lt"/>
            </a:rPr>
            <a:t>45 (quarenta e cinco) dias </a:t>
          </a:r>
          <a:r>
            <a:rPr lang="pt-BR" altLang="pt-BR" sz="1200" kern="1200" dirty="0">
              <a:solidFill>
                <a:schemeClr val="tx1"/>
              </a:solidFill>
              <a:latin typeface="+mn-lt"/>
            </a:rPr>
            <a:t>a </a:t>
          </a:r>
          <a:r>
            <a:rPr lang="pt-BR" altLang="pt-BR" sz="1200" b="1" kern="1200" dirty="0">
              <a:solidFill>
                <a:schemeClr val="tx1"/>
              </a:solidFill>
              <a:latin typeface="+mn-lt"/>
            </a:rPr>
            <a:t>ANAC fará a análise e aprovação do Projeto Básico</a:t>
          </a:r>
          <a:r>
            <a:rPr lang="pt-BR" altLang="pt-BR" sz="1200" kern="1200" dirty="0">
              <a:solidFill>
                <a:schemeClr val="tx1"/>
              </a:solidFill>
              <a:latin typeface="+mn-lt"/>
            </a:rPr>
            <a:t>, podendo emitir autorizações parciais de construção durante o período de análise. A aprovação do Projeto Básico pela ANAC não exclui a necessidade de sua alteração posterior para eventual adequação aos requisitos constantes no Contrato, legislação e regulamentação do setor; </a:t>
          </a:r>
        </a:p>
        <a:p>
          <a:pPr marL="114300" lvl="1" indent="0" algn="just" defTabSz="533400">
            <a:lnSpc>
              <a:spcPct val="90000"/>
            </a:lnSpc>
            <a:spcBef>
              <a:spcPct val="0"/>
            </a:spcBef>
            <a:spcAft>
              <a:spcPts val="1200"/>
            </a:spcAft>
            <a:buNone/>
          </a:pPr>
          <a:r>
            <a:rPr lang="pt-BR" altLang="pt-BR" sz="1200" kern="1200" dirty="0">
              <a:solidFill>
                <a:schemeClr val="tx1"/>
              </a:solidFill>
              <a:latin typeface="+mn-lt"/>
            </a:rPr>
            <a:t>IV - a Concessionária deverá submeter à ANAC todas as alterações do Projeto Básico, posteriores à sua aprovação inicial, para fins de análise e nova aprovação desta Agência; </a:t>
          </a:r>
        </a:p>
        <a:p>
          <a:pPr marL="114300" lvl="1" indent="0" algn="just" defTabSz="533400">
            <a:lnSpc>
              <a:spcPct val="90000"/>
            </a:lnSpc>
            <a:spcBef>
              <a:spcPct val="0"/>
            </a:spcBef>
            <a:spcAft>
              <a:spcPts val="1200"/>
            </a:spcAft>
            <a:buNone/>
          </a:pPr>
          <a:r>
            <a:rPr lang="pt-BR" altLang="pt-BR" sz="1200" b="0" kern="1200" dirty="0">
              <a:solidFill>
                <a:schemeClr val="tx1"/>
              </a:solidFill>
              <a:latin typeface="+mn-lt"/>
            </a:rPr>
            <a:t>V - caso o Projeto Básico não seja aprovado, a Concessionária terá o prazo máximo a ser fixado pela ANAC para reapresentá-lo, com as adequações necessárias.</a:t>
          </a:r>
        </a:p>
      </dsp:txBody>
      <dsp:txXfrm rot="-5400000">
        <a:off x="1730646" y="221461"/>
        <a:ext cx="6492046" cy="4093589"/>
      </dsp:txXfrm>
    </dsp:sp>
    <dsp:sp modelId="{1C479F0B-C610-4C88-A4DB-38C5FDE7CD99}">
      <dsp:nvSpPr>
        <dsp:cNvPr id="0" name=""/>
        <dsp:cNvSpPr/>
      </dsp:nvSpPr>
      <dsp:spPr>
        <a:xfrm>
          <a:off x="52797" y="2215"/>
          <a:ext cx="1677848" cy="4532073"/>
        </a:xfrm>
        <a:prstGeom prst="round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800" b="1" kern="1200" dirty="0">
              <a:latin typeface="+mn-lt"/>
            </a:rPr>
            <a:t>Proposta de redação</a:t>
          </a:r>
        </a:p>
      </dsp:txBody>
      <dsp:txXfrm>
        <a:off x="134703" y="84121"/>
        <a:ext cx="1514036" cy="4368261"/>
      </dsp:txXfrm>
    </dsp:sp>
  </dsp:spTree>
</dsp:drawing>
</file>

<file path=ppt/diagrams/drawing3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F8D66A9-7F7B-4D0B-865F-548174EDFC7D}">
      <dsp:nvSpPr>
        <dsp:cNvPr id="0" name=""/>
        <dsp:cNvSpPr/>
      </dsp:nvSpPr>
      <dsp:spPr>
        <a:xfrm>
          <a:off x="0" y="567618"/>
          <a:ext cx="6192688" cy="680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0621" tIns="333248" rIns="480621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600" kern="1200" dirty="0"/>
            <a:t>Audiência Pública nº 09/2014</a:t>
          </a:r>
        </a:p>
      </dsp:txBody>
      <dsp:txXfrm>
        <a:off x="0" y="567618"/>
        <a:ext cx="6192688" cy="680400"/>
      </dsp:txXfrm>
    </dsp:sp>
    <dsp:sp modelId="{8ABCAADE-468F-4323-825F-38AFDF747341}">
      <dsp:nvSpPr>
        <dsp:cNvPr id="0" name=""/>
        <dsp:cNvSpPr/>
      </dsp:nvSpPr>
      <dsp:spPr>
        <a:xfrm>
          <a:off x="309634" y="331458"/>
          <a:ext cx="4334881" cy="4723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3848" tIns="0" rIns="163848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600" kern="1200" dirty="0"/>
            <a:t>Resolução 355, de 17 de março de 2015</a:t>
          </a:r>
        </a:p>
      </dsp:txBody>
      <dsp:txXfrm>
        <a:off x="332691" y="354515"/>
        <a:ext cx="4288767" cy="426206"/>
      </dsp:txXfrm>
    </dsp:sp>
    <dsp:sp modelId="{3537DE74-2D08-4756-894E-7979BF0A1714}">
      <dsp:nvSpPr>
        <dsp:cNvPr id="0" name=""/>
        <dsp:cNvSpPr/>
      </dsp:nvSpPr>
      <dsp:spPr>
        <a:xfrm>
          <a:off x="0" y="1570578"/>
          <a:ext cx="6192688" cy="932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0621" tIns="333248" rIns="480621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600" kern="1200" dirty="0"/>
            <a:t>Audiência Pública nº 12/2017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600" kern="1200" dirty="0"/>
            <a:t>Audiência Pública nº 16/2018</a:t>
          </a:r>
        </a:p>
      </dsp:txBody>
      <dsp:txXfrm>
        <a:off x="0" y="1570578"/>
        <a:ext cx="6192688" cy="932400"/>
      </dsp:txXfrm>
    </dsp:sp>
    <dsp:sp modelId="{59EB7D8D-1771-431C-93EB-C9736FBD7311}">
      <dsp:nvSpPr>
        <dsp:cNvPr id="0" name=""/>
        <dsp:cNvSpPr/>
      </dsp:nvSpPr>
      <dsp:spPr>
        <a:xfrm>
          <a:off x="309634" y="1334418"/>
          <a:ext cx="4334881" cy="4723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3848" tIns="0" rIns="163848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600" kern="1200" dirty="0"/>
            <a:t>Proposta de revisão da Resolução nº 355/2015</a:t>
          </a:r>
        </a:p>
      </dsp:txBody>
      <dsp:txXfrm>
        <a:off x="332691" y="1357475"/>
        <a:ext cx="4288767" cy="426206"/>
      </dsp:txXfrm>
    </dsp:sp>
  </dsp:spTree>
</dsp:drawing>
</file>

<file path=ppt/diagrams/drawing4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3025F19-DEDA-41B3-B79C-D4BF8DC81D3C}">
      <dsp:nvSpPr>
        <dsp:cNvPr id="0" name=""/>
        <dsp:cNvSpPr/>
      </dsp:nvSpPr>
      <dsp:spPr>
        <a:xfrm rot="10800000" flipV="1">
          <a:off x="0" y="0"/>
          <a:ext cx="3759883" cy="453311"/>
        </a:xfrm>
        <a:prstGeom prst="roundRect">
          <a:avLst>
            <a:gd name="adj" fmla="val 10000"/>
          </a:avLst>
        </a:prstGeom>
        <a:solidFill>
          <a:schemeClr val="accent1">
            <a:shade val="5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b="0" kern="1200" dirty="0"/>
            <a:t>Revisão da contribuição</a:t>
          </a:r>
        </a:p>
      </dsp:txBody>
      <dsp:txXfrm rot="-10800000">
        <a:off x="13277" y="13277"/>
        <a:ext cx="3733329" cy="426757"/>
      </dsp:txXfrm>
    </dsp:sp>
  </dsp:spTree>
</dsp:drawing>
</file>

<file path=ppt/diagrams/drawing4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884F48A-9525-4C22-8F2A-BA2C6ABD8029}">
      <dsp:nvSpPr>
        <dsp:cNvPr id="0" name=""/>
        <dsp:cNvSpPr/>
      </dsp:nvSpPr>
      <dsp:spPr>
        <a:xfrm rot="5400000">
          <a:off x="-105130" y="106041"/>
          <a:ext cx="700872" cy="49061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300" kern="1200" dirty="0"/>
            <a:t> </a:t>
          </a:r>
        </a:p>
      </dsp:txBody>
      <dsp:txXfrm rot="-5400000">
        <a:off x="1" y="246215"/>
        <a:ext cx="490610" cy="210262"/>
      </dsp:txXfrm>
    </dsp:sp>
    <dsp:sp modelId="{4A90C877-0315-4D5E-9F8D-85805FEDD18E}">
      <dsp:nvSpPr>
        <dsp:cNvPr id="0" name=""/>
        <dsp:cNvSpPr/>
      </dsp:nvSpPr>
      <dsp:spPr>
        <a:xfrm rot="5400000">
          <a:off x="1889729" y="-1398208"/>
          <a:ext cx="455567" cy="325380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800" kern="1200" dirty="0"/>
            <a:t>Fixa, variável ou mensal</a:t>
          </a:r>
        </a:p>
      </dsp:txBody>
      <dsp:txXfrm rot="-5400000">
        <a:off x="490611" y="23149"/>
        <a:ext cx="3231566" cy="411089"/>
      </dsp:txXfrm>
    </dsp:sp>
    <dsp:sp modelId="{5243C3D5-1CCC-4D8C-BA97-1FC286302A90}">
      <dsp:nvSpPr>
        <dsp:cNvPr id="0" name=""/>
        <dsp:cNvSpPr/>
      </dsp:nvSpPr>
      <dsp:spPr>
        <a:xfrm rot="5400000">
          <a:off x="-105130" y="659730"/>
          <a:ext cx="700872" cy="49061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300" kern="1200" dirty="0"/>
            <a:t> </a:t>
          </a:r>
        </a:p>
      </dsp:txBody>
      <dsp:txXfrm rot="-5400000">
        <a:off x="1" y="799904"/>
        <a:ext cx="490610" cy="210262"/>
      </dsp:txXfrm>
    </dsp:sp>
    <dsp:sp modelId="{82AD9CBE-3857-4DFF-AEBC-0B64BE96D1D0}">
      <dsp:nvSpPr>
        <dsp:cNvPr id="0" name=""/>
        <dsp:cNvSpPr/>
      </dsp:nvSpPr>
      <dsp:spPr>
        <a:xfrm rot="5400000">
          <a:off x="1889729" y="-844519"/>
          <a:ext cx="455567" cy="325380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800" kern="1200" dirty="0"/>
            <a:t>Previsão contratual</a:t>
          </a:r>
        </a:p>
      </dsp:txBody>
      <dsp:txXfrm rot="-5400000">
        <a:off x="490611" y="576838"/>
        <a:ext cx="3231566" cy="411089"/>
      </dsp:txXfrm>
    </dsp:sp>
    <dsp:sp modelId="{B646B2F1-5B9E-460E-81F3-B3479E9D7582}">
      <dsp:nvSpPr>
        <dsp:cNvPr id="0" name=""/>
        <dsp:cNvSpPr/>
      </dsp:nvSpPr>
      <dsp:spPr>
        <a:xfrm rot="5400000">
          <a:off x="-105130" y="1213419"/>
          <a:ext cx="700872" cy="49061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300" kern="1200" dirty="0"/>
            <a:t> </a:t>
          </a:r>
        </a:p>
      </dsp:txBody>
      <dsp:txXfrm rot="-5400000">
        <a:off x="1" y="1353593"/>
        <a:ext cx="490610" cy="210262"/>
      </dsp:txXfrm>
    </dsp:sp>
    <dsp:sp modelId="{17836E82-A1E4-48CE-8228-C416BD60F636}">
      <dsp:nvSpPr>
        <dsp:cNvPr id="0" name=""/>
        <dsp:cNvSpPr/>
      </dsp:nvSpPr>
      <dsp:spPr>
        <a:xfrm rot="5400000">
          <a:off x="1889729" y="-290829"/>
          <a:ext cx="455567" cy="325380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800" kern="1200" dirty="0"/>
            <a:t>Autorização MTPA</a:t>
          </a:r>
        </a:p>
      </dsp:txBody>
      <dsp:txXfrm rot="-5400000">
        <a:off x="490611" y="1130528"/>
        <a:ext cx="3231566" cy="411089"/>
      </dsp:txXfrm>
    </dsp:sp>
  </dsp:spTree>
</dsp:drawing>
</file>

<file path=ppt/diagrams/drawing4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3025F19-DEDA-41B3-B79C-D4BF8DC81D3C}">
      <dsp:nvSpPr>
        <dsp:cNvPr id="0" name=""/>
        <dsp:cNvSpPr/>
      </dsp:nvSpPr>
      <dsp:spPr>
        <a:xfrm rot="10800000" flipV="1">
          <a:off x="0" y="0"/>
          <a:ext cx="3759883" cy="453311"/>
        </a:xfrm>
        <a:prstGeom prst="roundRect">
          <a:avLst>
            <a:gd name="adj" fmla="val 10000"/>
          </a:avLst>
        </a:prstGeom>
        <a:solidFill>
          <a:schemeClr val="accent1">
            <a:shade val="5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b="0" kern="1200" dirty="0"/>
            <a:t>Prazo</a:t>
          </a:r>
        </a:p>
      </dsp:txBody>
      <dsp:txXfrm rot="-10800000">
        <a:off x="13277" y="13277"/>
        <a:ext cx="3733329" cy="42675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C72B60D-091A-42E6-ACCD-0FD3E63AE58E}">
      <dsp:nvSpPr>
        <dsp:cNvPr id="0" name=""/>
        <dsp:cNvSpPr/>
      </dsp:nvSpPr>
      <dsp:spPr>
        <a:xfrm>
          <a:off x="219467" y="2984"/>
          <a:ext cx="1113981" cy="55699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385" tIns="21590" rIns="32385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700" kern="1200" dirty="0"/>
            <a:t>Dimensões</a:t>
          </a:r>
        </a:p>
      </dsp:txBody>
      <dsp:txXfrm>
        <a:off x="235781" y="19298"/>
        <a:ext cx="1081353" cy="524362"/>
      </dsp:txXfrm>
    </dsp:sp>
    <dsp:sp modelId="{D9DE3B77-5B71-476E-8E2B-F4D88872CC73}">
      <dsp:nvSpPr>
        <dsp:cNvPr id="0" name=""/>
        <dsp:cNvSpPr/>
      </dsp:nvSpPr>
      <dsp:spPr>
        <a:xfrm>
          <a:off x="330865" y="559975"/>
          <a:ext cx="531915" cy="41671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16718"/>
              </a:lnTo>
              <a:lnTo>
                <a:pt x="531915" y="41671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C974E15-F625-43E3-A25F-749EABB4B9C3}">
      <dsp:nvSpPr>
        <dsp:cNvPr id="0" name=""/>
        <dsp:cNvSpPr/>
      </dsp:nvSpPr>
      <dsp:spPr>
        <a:xfrm>
          <a:off x="862780" y="698198"/>
          <a:ext cx="891185" cy="55699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900" kern="1200" dirty="0"/>
            <a:t>Ambiente Regulatório</a:t>
          </a:r>
        </a:p>
      </dsp:txBody>
      <dsp:txXfrm>
        <a:off x="879094" y="714512"/>
        <a:ext cx="858557" cy="524362"/>
      </dsp:txXfrm>
    </dsp:sp>
    <dsp:sp modelId="{545746D3-1B1B-4C35-9EC7-5646726D8FD2}">
      <dsp:nvSpPr>
        <dsp:cNvPr id="0" name=""/>
        <dsp:cNvSpPr/>
      </dsp:nvSpPr>
      <dsp:spPr>
        <a:xfrm>
          <a:off x="330865" y="559975"/>
          <a:ext cx="531915" cy="11129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12956"/>
              </a:lnTo>
              <a:lnTo>
                <a:pt x="531915" y="1112956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231EA56-82DC-4F60-96F5-4B309CB6C1FC}">
      <dsp:nvSpPr>
        <dsp:cNvPr id="0" name=""/>
        <dsp:cNvSpPr/>
      </dsp:nvSpPr>
      <dsp:spPr>
        <a:xfrm>
          <a:off x="862780" y="1394436"/>
          <a:ext cx="891185" cy="556990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1"/>
          <a:srcRect/>
          <a:stretch>
            <a:fillRect l="-59000" r="-59000"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900" kern="1200" dirty="0"/>
            <a:t>Regulação Técnica</a:t>
          </a:r>
        </a:p>
      </dsp:txBody>
      <dsp:txXfrm>
        <a:off x="879094" y="1410750"/>
        <a:ext cx="858557" cy="524362"/>
      </dsp:txXfrm>
    </dsp:sp>
    <dsp:sp modelId="{AF11A134-A3B5-486D-B6DC-B1C1E2FC1D5B}">
      <dsp:nvSpPr>
        <dsp:cNvPr id="0" name=""/>
        <dsp:cNvSpPr/>
      </dsp:nvSpPr>
      <dsp:spPr>
        <a:xfrm>
          <a:off x="330865" y="559975"/>
          <a:ext cx="531915" cy="180919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09195"/>
              </a:lnTo>
              <a:lnTo>
                <a:pt x="531915" y="180919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56E302D-E866-409B-94E2-958693AEBD17}">
      <dsp:nvSpPr>
        <dsp:cNvPr id="0" name=""/>
        <dsp:cNvSpPr/>
      </dsp:nvSpPr>
      <dsp:spPr>
        <a:xfrm>
          <a:off x="862780" y="2090675"/>
          <a:ext cx="891185" cy="556990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1"/>
          <a:srcRect/>
          <a:stretch>
            <a:fillRect l="-59000" r="-59000"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900" kern="1200" dirty="0"/>
            <a:t>Regulação Econômica</a:t>
          </a:r>
        </a:p>
      </dsp:txBody>
      <dsp:txXfrm>
        <a:off x="879094" y="2106989"/>
        <a:ext cx="858557" cy="524362"/>
      </dsp:txXfrm>
    </dsp:sp>
    <dsp:sp modelId="{46360273-5A7B-4245-93DC-A2A012C6A6F9}">
      <dsp:nvSpPr>
        <dsp:cNvPr id="0" name=""/>
        <dsp:cNvSpPr/>
      </dsp:nvSpPr>
      <dsp:spPr>
        <a:xfrm>
          <a:off x="330865" y="559975"/>
          <a:ext cx="531915" cy="250543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05433"/>
              </a:lnTo>
              <a:lnTo>
                <a:pt x="531915" y="2505433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F76C988-4EB3-4BB9-B954-D4F66A9C30BD}">
      <dsp:nvSpPr>
        <dsp:cNvPr id="0" name=""/>
        <dsp:cNvSpPr/>
      </dsp:nvSpPr>
      <dsp:spPr>
        <a:xfrm>
          <a:off x="862780" y="2786913"/>
          <a:ext cx="891185" cy="556990"/>
        </a:xfrm>
        <a:prstGeom prst="roundRect">
          <a:avLst>
            <a:gd name="adj" fmla="val 10000"/>
          </a:avLst>
        </a:prstGeom>
        <a:solidFill>
          <a:schemeClr val="tx2">
            <a:lumMod val="20000"/>
            <a:lumOff val="80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900" b="1" kern="1200" dirty="0"/>
            <a:t>Regulamentação</a:t>
          </a:r>
        </a:p>
      </dsp:txBody>
      <dsp:txXfrm>
        <a:off x="879094" y="2803227"/>
        <a:ext cx="858557" cy="524362"/>
      </dsp:txXfrm>
    </dsp:sp>
    <dsp:sp modelId="{6413DF7F-9FEE-45A9-96D0-0D8E6288F368}">
      <dsp:nvSpPr>
        <dsp:cNvPr id="0" name=""/>
        <dsp:cNvSpPr/>
      </dsp:nvSpPr>
      <dsp:spPr>
        <a:xfrm>
          <a:off x="330865" y="559975"/>
          <a:ext cx="531915" cy="320167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201672"/>
              </a:lnTo>
              <a:lnTo>
                <a:pt x="531915" y="320167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28C8AE0-478C-4B58-9605-F2468736FAC3}">
      <dsp:nvSpPr>
        <dsp:cNvPr id="0" name=""/>
        <dsp:cNvSpPr/>
      </dsp:nvSpPr>
      <dsp:spPr>
        <a:xfrm>
          <a:off x="862780" y="3483152"/>
          <a:ext cx="891185" cy="556990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1"/>
          <a:srcRect/>
          <a:stretch>
            <a:fillRect l="-59000" r="-59000"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900" kern="1200" dirty="0"/>
            <a:t>Planejamento da Fiscalização</a:t>
          </a:r>
        </a:p>
      </dsp:txBody>
      <dsp:txXfrm>
        <a:off x="879094" y="3499466"/>
        <a:ext cx="858557" cy="524362"/>
      </dsp:txXfrm>
    </dsp:sp>
    <dsp:sp modelId="{0F01C8E4-3DCD-4F87-8E90-D296DFA5814D}">
      <dsp:nvSpPr>
        <dsp:cNvPr id="0" name=""/>
        <dsp:cNvSpPr/>
      </dsp:nvSpPr>
      <dsp:spPr>
        <a:xfrm>
          <a:off x="330865" y="559975"/>
          <a:ext cx="531915" cy="389791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897910"/>
              </a:lnTo>
              <a:lnTo>
                <a:pt x="531915" y="389791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2E1B37E-7C28-4C5E-A92F-C38047C4C619}">
      <dsp:nvSpPr>
        <dsp:cNvPr id="0" name=""/>
        <dsp:cNvSpPr/>
      </dsp:nvSpPr>
      <dsp:spPr>
        <a:xfrm>
          <a:off x="862780" y="4179390"/>
          <a:ext cx="891185" cy="556990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1"/>
          <a:srcRect/>
          <a:stretch>
            <a:fillRect l="-59000" r="-59000"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145" tIns="11430" rIns="17145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900" kern="1200" dirty="0"/>
            <a:t>Execução da Fiscalização</a:t>
          </a:r>
        </a:p>
      </dsp:txBody>
      <dsp:txXfrm>
        <a:off x="879094" y="4195704"/>
        <a:ext cx="858557" cy="524362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046F121-7EEB-4873-97EF-953280B3C5E5}">
      <dsp:nvSpPr>
        <dsp:cNvPr id="0" name=""/>
        <dsp:cNvSpPr/>
      </dsp:nvSpPr>
      <dsp:spPr>
        <a:xfrm rot="5400000">
          <a:off x="2801069" y="-1013052"/>
          <a:ext cx="1839416" cy="3867369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"/>
          </a:pPr>
          <a:r>
            <a:rPr lang="pt-BR" sz="1400" i="0" kern="1200" dirty="0"/>
            <a:t>Garantir que os custos associados à intervenção regulatória sejam justificáveis perante os benefícios gerado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"/>
          </a:pPr>
          <a:r>
            <a:rPr lang="pt-BR" sz="1400" kern="1200" dirty="0"/>
            <a:t>Promover a contínua melhoria da ação regulatória da Agência, por meio da avaliação da efetividade das intervenções realizadas</a:t>
          </a:r>
        </a:p>
      </dsp:txBody>
      <dsp:txXfrm rot="-5400000">
        <a:off x="1787093" y="90717"/>
        <a:ext cx="3777576" cy="1659830"/>
      </dsp:txXfrm>
    </dsp:sp>
    <dsp:sp modelId="{1D070957-4DF7-4978-8F1C-C2C1FEA8EE12}">
      <dsp:nvSpPr>
        <dsp:cNvPr id="0" name=""/>
        <dsp:cNvSpPr/>
      </dsp:nvSpPr>
      <dsp:spPr>
        <a:xfrm>
          <a:off x="262911" y="33217"/>
          <a:ext cx="1392883" cy="1774829"/>
        </a:xfrm>
        <a:prstGeom prst="roundRect">
          <a:avLst/>
        </a:prstGeom>
        <a:solidFill>
          <a:schemeClr val="lt1"/>
        </a:solidFill>
        <a:ln w="25400" cap="flat" cmpd="sng" algn="ctr">
          <a:solidFill>
            <a:schemeClr val="dk1"/>
          </a:solidFill>
          <a:prstDash val="solid"/>
        </a:ln>
        <a:effectLst/>
        <a:scene3d>
          <a:camera prst="orthographicFront"/>
          <a:lightRig rig="chilly" dir="t"/>
        </a:scene3d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72390" tIns="36195" rIns="72390" bIns="3619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900" kern="1200" dirty="0"/>
            <a:t>Objetivos específicos</a:t>
          </a:r>
        </a:p>
      </dsp:txBody>
      <dsp:txXfrm>
        <a:off x="330906" y="101212"/>
        <a:ext cx="1256893" cy="1638839"/>
      </dsp:txXfrm>
    </dsp:sp>
    <dsp:sp modelId="{904459FB-8842-459E-9085-26BB27246EB8}">
      <dsp:nvSpPr>
        <dsp:cNvPr id="0" name=""/>
        <dsp:cNvSpPr/>
      </dsp:nvSpPr>
      <dsp:spPr>
        <a:xfrm rot="5400000">
          <a:off x="2567010" y="1136860"/>
          <a:ext cx="2307534" cy="3867369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"/>
          </a:pPr>
          <a:r>
            <a:rPr lang="pt-BR" sz="1400" kern="1200" dirty="0"/>
            <a:t>Permitir que os agentes econômicos afetados pela proposta tenham acesso a informações, motivações e referências utilizadas nos estudo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"/>
          </a:pPr>
          <a:r>
            <a:rPr lang="pt-BR" sz="1400" kern="1200" dirty="0"/>
            <a:t>Princípios da transparência e da ampla participação no processo normativo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"/>
          </a:pPr>
          <a:r>
            <a:rPr lang="pt-BR" sz="1400" kern="1200" dirty="0"/>
            <a:t>Regulamentação compreensível e clara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"/>
          </a:pPr>
          <a:r>
            <a:rPr lang="pt-BR" sz="1400" kern="1200" dirty="0"/>
            <a:t>Padronização e uniformização de termos, conceitos e definições</a:t>
          </a:r>
        </a:p>
      </dsp:txBody>
      <dsp:txXfrm rot="-5400000">
        <a:off x="1787093" y="2029423"/>
        <a:ext cx="3754724" cy="2082244"/>
      </dsp:txXfrm>
    </dsp:sp>
    <dsp:sp modelId="{CD9C9266-66F8-4143-8F6D-67B9DE17062B}">
      <dsp:nvSpPr>
        <dsp:cNvPr id="0" name=""/>
        <dsp:cNvSpPr/>
      </dsp:nvSpPr>
      <dsp:spPr>
        <a:xfrm>
          <a:off x="262911" y="2306165"/>
          <a:ext cx="1392883" cy="1528760"/>
        </a:xfrm>
        <a:prstGeom prst="roundRect">
          <a:avLst/>
        </a:prstGeom>
        <a:solidFill>
          <a:schemeClr val="lt1"/>
        </a:solidFill>
        <a:ln w="25400" cap="flat" cmpd="sng" algn="ctr">
          <a:solidFill>
            <a:schemeClr val="dk1"/>
          </a:solidFill>
          <a:prstDash val="solid"/>
        </a:ln>
        <a:effectLst/>
        <a:scene3d>
          <a:camera prst="orthographicFront"/>
          <a:lightRig rig="chilly" dir="t"/>
        </a:scene3d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72390" tIns="36195" rIns="72390" bIns="3619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900" kern="1200" dirty="0"/>
            <a:t>Estratégias</a:t>
          </a:r>
        </a:p>
      </dsp:txBody>
      <dsp:txXfrm>
        <a:off x="330906" y="2374160"/>
        <a:ext cx="1256893" cy="139277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B766CDB-92AB-7D43-8D75-3B0260F1D040}">
      <dsp:nvSpPr>
        <dsp:cNvPr id="0" name=""/>
        <dsp:cNvSpPr/>
      </dsp:nvSpPr>
      <dsp:spPr>
        <a:xfrm>
          <a:off x="0" y="8341"/>
          <a:ext cx="8458200" cy="65606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marR="0" lvl="0" indent="0" algn="l" defTabSz="914400" rtl="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pt-BR" sz="2000" kern="1200" noProof="0" dirty="0"/>
            <a:t>Capítulo I – DAS DISPOSIÇÕES GERAIS</a:t>
          </a:r>
        </a:p>
      </dsp:txBody>
      <dsp:txXfrm>
        <a:off x="32026" y="40367"/>
        <a:ext cx="8394148" cy="592010"/>
      </dsp:txXfrm>
    </dsp:sp>
    <dsp:sp modelId="{81CBD360-5CB6-479C-B517-E1235A0806F8}">
      <dsp:nvSpPr>
        <dsp:cNvPr id="0" name=""/>
        <dsp:cNvSpPr/>
      </dsp:nvSpPr>
      <dsp:spPr>
        <a:xfrm>
          <a:off x="0" y="785364"/>
          <a:ext cx="8458200" cy="65606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marR="0" lvl="0" indent="0" algn="l" defTabSz="889000" rtl="0" eaLnBrk="1" fontAlgn="auto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  <a:tabLst/>
            <a:defRPr/>
          </a:pPr>
          <a:r>
            <a:rPr lang="pt-BR" sz="2000" kern="1200" noProof="0" dirty="0"/>
            <a:t>Capítulo II – DO PROCESSO DE REVISÃO EXTRAORDINÁRIA</a:t>
          </a:r>
        </a:p>
      </dsp:txBody>
      <dsp:txXfrm>
        <a:off x="32026" y="817390"/>
        <a:ext cx="8394148" cy="592010"/>
      </dsp:txXfrm>
    </dsp:sp>
    <dsp:sp modelId="{6D9FCCD8-7D92-4140-9508-3521C35B2BF0}">
      <dsp:nvSpPr>
        <dsp:cNvPr id="0" name=""/>
        <dsp:cNvSpPr/>
      </dsp:nvSpPr>
      <dsp:spPr>
        <a:xfrm>
          <a:off x="0" y="1562386"/>
          <a:ext cx="8458200" cy="65606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marR="0" lvl="0" indent="0" algn="l" defTabSz="889000" rtl="0" eaLnBrk="1" fontAlgn="auto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  <a:tabLst/>
            <a:defRPr/>
          </a:pPr>
          <a:r>
            <a:rPr lang="pt-BR" sz="2000" kern="1200" noProof="0" dirty="0"/>
            <a:t>Capítulo III – DO PEDIDO DE REVISÃO EXTRAORDINÁRIA</a:t>
          </a:r>
        </a:p>
      </dsp:txBody>
      <dsp:txXfrm>
        <a:off x="32026" y="1594412"/>
        <a:ext cx="8394148" cy="592010"/>
      </dsp:txXfrm>
    </dsp:sp>
    <dsp:sp modelId="{E8ABFFE9-82D4-1344-A286-D3B47991F50F}">
      <dsp:nvSpPr>
        <dsp:cNvPr id="0" name=""/>
        <dsp:cNvSpPr/>
      </dsp:nvSpPr>
      <dsp:spPr>
        <a:xfrm>
          <a:off x="0" y="4320480"/>
          <a:ext cx="8458200" cy="6164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marR="0" lvl="0" indent="0" algn="l" defTabSz="914400" rtl="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pt-BR" sz="2000" b="1" kern="1200" noProof="0" dirty="0"/>
            <a:t>Capítulo V – DAS DISPOSIÇÕES FINAIS</a:t>
          </a:r>
        </a:p>
      </dsp:txBody>
      <dsp:txXfrm>
        <a:off x="30091" y="4350571"/>
        <a:ext cx="8398018" cy="556238"/>
      </dsp:txXfrm>
    </dsp:sp>
    <dsp:sp modelId="{0AEA479B-0C44-4981-9E89-E893702EFCA2}">
      <dsp:nvSpPr>
        <dsp:cNvPr id="0" name=""/>
        <dsp:cNvSpPr/>
      </dsp:nvSpPr>
      <dsp:spPr>
        <a:xfrm>
          <a:off x="0" y="3528390"/>
          <a:ext cx="8458200" cy="6164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marR="0" lvl="0" indent="0" algn="l" defTabSz="889000" rtl="0" eaLnBrk="1" fontAlgn="auto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  <a:tabLst/>
            <a:defRPr/>
          </a:pPr>
          <a:r>
            <a:rPr lang="pt-BR" sz="2000" b="1" kern="1200" noProof="0" dirty="0"/>
            <a:t>Capítulo IV – DA RECOMPOSIÇÃO DO EQUILÍBRIO ECONÔMICO-FINANCEIRO</a:t>
          </a:r>
        </a:p>
      </dsp:txBody>
      <dsp:txXfrm>
        <a:off x="30091" y="3558481"/>
        <a:ext cx="8398018" cy="556238"/>
      </dsp:txXfrm>
    </dsp:sp>
    <dsp:sp modelId="{FE8200D6-8CDA-4508-BB73-692B8F37239F}">
      <dsp:nvSpPr>
        <dsp:cNvPr id="0" name=""/>
        <dsp:cNvSpPr/>
      </dsp:nvSpPr>
      <dsp:spPr>
        <a:xfrm>
          <a:off x="878637" y="2365287"/>
          <a:ext cx="7556555" cy="268752"/>
        </a:xfrm>
        <a:prstGeom prst="roundRect">
          <a:avLst/>
        </a:prstGeom>
        <a:solidFill>
          <a:schemeClr val="accent1">
            <a:lumMod val="60000"/>
            <a:lumOff val="4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marR="0" lvl="0" indent="0" algn="l" defTabSz="711200" rtl="0" eaLnBrk="1" fontAlgn="auto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  <a:tabLst/>
            <a:defRPr/>
          </a:pPr>
          <a:r>
            <a:rPr lang="pt-BR" sz="1600" b="0" kern="1200" noProof="0" dirty="0"/>
            <a:t>Seção I – Da instrução</a:t>
          </a:r>
        </a:p>
      </dsp:txBody>
      <dsp:txXfrm>
        <a:off x="891756" y="2378406"/>
        <a:ext cx="7530317" cy="242514"/>
      </dsp:txXfrm>
    </dsp:sp>
    <dsp:sp modelId="{5D5C00B6-09B0-4235-93BB-BEF88DCD3C5E}">
      <dsp:nvSpPr>
        <dsp:cNvPr id="0" name=""/>
        <dsp:cNvSpPr/>
      </dsp:nvSpPr>
      <dsp:spPr>
        <a:xfrm>
          <a:off x="878637" y="2733072"/>
          <a:ext cx="7556555" cy="268752"/>
        </a:xfrm>
        <a:prstGeom prst="roundRect">
          <a:avLst/>
        </a:prstGeom>
        <a:solidFill>
          <a:schemeClr val="accent1">
            <a:lumMod val="60000"/>
            <a:lumOff val="4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marR="0" lvl="0" indent="0" algn="l" defTabSz="711200" rtl="0" eaLnBrk="1" fontAlgn="auto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  <a:tabLst/>
            <a:defRPr/>
          </a:pPr>
          <a:r>
            <a:rPr lang="pt-BR" sz="1600" b="0" kern="1200" noProof="0" dirty="0"/>
            <a:t>Seção II – Da análise</a:t>
          </a:r>
        </a:p>
      </dsp:txBody>
      <dsp:txXfrm>
        <a:off x="891756" y="2746191"/>
        <a:ext cx="7530317" cy="242514"/>
      </dsp:txXfrm>
    </dsp:sp>
    <dsp:sp modelId="{564A66EA-D62B-48E0-A24F-6040C7FD3113}">
      <dsp:nvSpPr>
        <dsp:cNvPr id="0" name=""/>
        <dsp:cNvSpPr/>
      </dsp:nvSpPr>
      <dsp:spPr>
        <a:xfrm>
          <a:off x="878637" y="3107618"/>
          <a:ext cx="7556555" cy="268752"/>
        </a:xfrm>
        <a:prstGeom prst="roundRect">
          <a:avLst/>
        </a:prstGeom>
        <a:solidFill>
          <a:schemeClr val="accent1">
            <a:lumMod val="60000"/>
            <a:lumOff val="4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marR="0" lvl="0" indent="0" algn="l" defTabSz="711200" rtl="0" eaLnBrk="1" fontAlgn="auto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  <a:tabLst/>
            <a:defRPr/>
          </a:pPr>
          <a:r>
            <a:rPr lang="pt-BR" sz="1600" b="0" kern="1200" noProof="0" dirty="0"/>
            <a:t>Seção III – Dos novos investimentos ou serviços</a:t>
          </a:r>
        </a:p>
      </dsp:txBody>
      <dsp:txXfrm>
        <a:off x="891756" y="3120737"/>
        <a:ext cx="7530317" cy="242514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884F48A-9525-4C22-8F2A-BA2C6ABD8029}">
      <dsp:nvSpPr>
        <dsp:cNvPr id="0" name=""/>
        <dsp:cNvSpPr/>
      </dsp:nvSpPr>
      <dsp:spPr>
        <a:xfrm rot="5400000">
          <a:off x="-106339" y="106776"/>
          <a:ext cx="708930" cy="49625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300" kern="1200" dirty="0"/>
            <a:t> </a:t>
          </a:r>
        </a:p>
      </dsp:txBody>
      <dsp:txXfrm rot="-5400000">
        <a:off x="1" y="248563"/>
        <a:ext cx="496251" cy="212679"/>
      </dsp:txXfrm>
    </dsp:sp>
    <dsp:sp modelId="{4A90C877-0315-4D5E-9F8D-85805FEDD18E}">
      <dsp:nvSpPr>
        <dsp:cNvPr id="0" name=""/>
        <dsp:cNvSpPr/>
      </dsp:nvSpPr>
      <dsp:spPr>
        <a:xfrm rot="5400000">
          <a:off x="1889931" y="-1379949"/>
          <a:ext cx="460804" cy="324816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9525" rIns="9525" bIns="9525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500" b="1" kern="1200" dirty="0"/>
            <a:t>Conceito previsto em contrato</a:t>
          </a:r>
        </a:p>
      </dsp:txBody>
      <dsp:txXfrm rot="-5400000">
        <a:off x="496252" y="36225"/>
        <a:ext cx="3225669" cy="415814"/>
      </dsp:txXfrm>
    </dsp:sp>
    <dsp:sp modelId="{5243C3D5-1CCC-4D8C-BA97-1FC286302A90}">
      <dsp:nvSpPr>
        <dsp:cNvPr id="0" name=""/>
        <dsp:cNvSpPr/>
      </dsp:nvSpPr>
      <dsp:spPr>
        <a:xfrm rot="5400000">
          <a:off x="-106339" y="691072"/>
          <a:ext cx="708930" cy="49625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300" kern="1200" dirty="0"/>
            <a:t> </a:t>
          </a:r>
        </a:p>
      </dsp:txBody>
      <dsp:txXfrm rot="-5400000">
        <a:off x="1" y="832859"/>
        <a:ext cx="496251" cy="212679"/>
      </dsp:txXfrm>
    </dsp:sp>
    <dsp:sp modelId="{82AD9CBE-3857-4DFF-AEBC-0B64BE96D1D0}">
      <dsp:nvSpPr>
        <dsp:cNvPr id="0" name=""/>
        <dsp:cNvSpPr/>
      </dsp:nvSpPr>
      <dsp:spPr>
        <a:xfrm rot="5400000">
          <a:off x="1889931" y="-808947"/>
          <a:ext cx="460804" cy="324816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9525" rIns="9525" bIns="9525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500" b="1" kern="1200" dirty="0"/>
            <a:t>Gestão dos contratos</a:t>
          </a:r>
        </a:p>
      </dsp:txBody>
      <dsp:txXfrm rot="-5400000">
        <a:off x="496252" y="607227"/>
        <a:ext cx="3225669" cy="415814"/>
      </dsp:txXfrm>
    </dsp:sp>
    <dsp:sp modelId="{A54D872D-89B4-4B99-AD95-77508C8D4D8C}">
      <dsp:nvSpPr>
        <dsp:cNvPr id="0" name=""/>
        <dsp:cNvSpPr/>
      </dsp:nvSpPr>
      <dsp:spPr>
        <a:xfrm rot="5400000">
          <a:off x="-106339" y="1275367"/>
          <a:ext cx="708930" cy="49625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BR" sz="1300" kern="1200" dirty="0"/>
        </a:p>
      </dsp:txBody>
      <dsp:txXfrm rot="-5400000">
        <a:off x="1" y="1417154"/>
        <a:ext cx="496251" cy="212679"/>
      </dsp:txXfrm>
    </dsp:sp>
    <dsp:sp modelId="{AFFEF75E-6975-40D9-AF27-01827236D770}">
      <dsp:nvSpPr>
        <dsp:cNvPr id="0" name=""/>
        <dsp:cNvSpPr/>
      </dsp:nvSpPr>
      <dsp:spPr>
        <a:xfrm rot="5400000">
          <a:off x="1889931" y="-224651"/>
          <a:ext cx="460804" cy="324816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9525" rIns="9525" bIns="9525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500" kern="1200" dirty="0"/>
            <a:t>Análise individual dos eventos (art. 4)</a:t>
          </a:r>
        </a:p>
      </dsp:txBody>
      <dsp:txXfrm rot="-5400000">
        <a:off x="496252" y="1191523"/>
        <a:ext cx="3225669" cy="415814"/>
      </dsp:txXfrm>
    </dsp:sp>
    <dsp:sp modelId="{E725CDD1-EC67-41B6-A42E-D34CB7E86C17}">
      <dsp:nvSpPr>
        <dsp:cNvPr id="0" name=""/>
        <dsp:cNvSpPr/>
      </dsp:nvSpPr>
      <dsp:spPr>
        <a:xfrm rot="5400000">
          <a:off x="-106339" y="1859663"/>
          <a:ext cx="708930" cy="49625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BR" sz="1300" kern="1200" dirty="0"/>
        </a:p>
      </dsp:txBody>
      <dsp:txXfrm rot="-5400000">
        <a:off x="1" y="2001450"/>
        <a:ext cx="496251" cy="212679"/>
      </dsp:txXfrm>
    </dsp:sp>
    <dsp:sp modelId="{3BD9761E-A868-48B9-827E-D8CE2992AB1C}">
      <dsp:nvSpPr>
        <dsp:cNvPr id="0" name=""/>
        <dsp:cNvSpPr/>
      </dsp:nvSpPr>
      <dsp:spPr>
        <a:xfrm rot="5400000">
          <a:off x="1889931" y="359644"/>
          <a:ext cx="460804" cy="324816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9525" rIns="9525" bIns="9525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500" kern="1200" dirty="0"/>
            <a:t>Jurisprudência TCU</a:t>
          </a:r>
        </a:p>
      </dsp:txBody>
      <dsp:txXfrm rot="-5400000">
        <a:off x="496252" y="1775819"/>
        <a:ext cx="3225669" cy="415814"/>
      </dsp:txXfrm>
    </dsp:sp>
    <dsp:sp modelId="{A844114D-1947-4D2F-9299-E7CA39596EC3}">
      <dsp:nvSpPr>
        <dsp:cNvPr id="0" name=""/>
        <dsp:cNvSpPr/>
      </dsp:nvSpPr>
      <dsp:spPr>
        <a:xfrm rot="5400000">
          <a:off x="-106339" y="2443959"/>
          <a:ext cx="708930" cy="49625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t-BR" sz="1300" kern="1200" dirty="0"/>
        </a:p>
      </dsp:txBody>
      <dsp:txXfrm rot="-5400000">
        <a:off x="1" y="2585746"/>
        <a:ext cx="496251" cy="212679"/>
      </dsp:txXfrm>
    </dsp:sp>
    <dsp:sp modelId="{AB73A3C3-FDEF-49D9-9ACD-B09A239F6F82}">
      <dsp:nvSpPr>
        <dsp:cNvPr id="0" name=""/>
        <dsp:cNvSpPr/>
      </dsp:nvSpPr>
      <dsp:spPr>
        <a:xfrm rot="5400000">
          <a:off x="1889931" y="943939"/>
          <a:ext cx="460804" cy="324816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9525" rIns="9525" bIns="9525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500" kern="1200" dirty="0"/>
            <a:t>Doutrina administrativista </a:t>
          </a:r>
        </a:p>
      </dsp:txBody>
      <dsp:txXfrm rot="-5400000">
        <a:off x="496252" y="2360114"/>
        <a:ext cx="3225669" cy="415814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8583D8F-9051-44D8-9187-07CDD5BF4D1C}">
      <dsp:nvSpPr>
        <dsp:cNvPr id="0" name=""/>
        <dsp:cNvSpPr/>
      </dsp:nvSpPr>
      <dsp:spPr>
        <a:xfrm>
          <a:off x="292088" y="424"/>
          <a:ext cx="2123007" cy="1007262"/>
        </a:xfrm>
        <a:prstGeom prst="rect">
          <a:avLst/>
        </a:prstGeom>
        <a:solidFill>
          <a:schemeClr val="accent1">
            <a:lumMod val="40000"/>
            <a:lumOff val="6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2000" kern="1200" dirty="0">
              <a:solidFill>
                <a:schemeClr val="tx2">
                  <a:lumMod val="50000"/>
                </a:schemeClr>
              </a:solidFill>
            </a:rPr>
            <a:t>RB totalidade dos aeroportos do Contrato</a:t>
          </a:r>
        </a:p>
      </dsp:txBody>
      <dsp:txXfrm>
        <a:off x="292088" y="424"/>
        <a:ext cx="2123007" cy="100726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5/8/layout/lProcess1">
  <dgm:title val=""/>
  <dgm:desc val=""/>
  <dgm:catLst>
    <dgm:cat type="process" pri="1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1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2"/>
      </dgm:ptLst>
      <dgm:cxnLst>
        <dgm:cxn modelId="3" srcId="0" destId="1" srcOrd="0" destOrd="0"/>
        <dgm:cxn modelId="4" srcId="0" destId="2" srcOrd="0" destOrd="0"/>
        <dgm:cxn modelId="5" srcId="1" destId="11" srcOrd="0" destOrd="0"/>
        <dgm:cxn modelId="6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R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header" refType="h"/>
      <dgm:constr type="w" for="des" forName="header" refType="h" refFor="des" refForName="header" op="equ" fact="4"/>
      <dgm:constr type="h" for="des" forName="child" refType="h" refFor="des" refForName="header" op="equ"/>
      <dgm:constr type="w" for="des" forName="child" refType="w" refFor="des" refForName="header" op="equ"/>
      <dgm:constr type="w" for="ch" forName="hSp" refType="w" refFor="des" refForName="header" op="equ" fact="0.14"/>
      <dgm:constr type="h" for="des" forName="parTrans" refType="h" refFor="des" refForName="header" op="equ" fact="0.35"/>
      <dgm:constr type="h" for="des" forName="sibTrans" refType="h" refFor="des" refForName="parTrans" op="equ"/>
      <dgm:constr type="primFontSz" for="des" forName="child" op="equ" val="65"/>
      <dgm:constr type="primFontSz" for="des" forName="header" op="equ" val="65"/>
    </dgm:constrLst>
    <dgm:ruleLst/>
    <dgm:forEach name="Name4" axis="ch" ptType="node">
      <dgm:layoutNode name="vertFlow">
        <dgm:choose name="Name5">
          <dgm:if name="Name6" func="var" arg="dir" op="equ" val="norm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if>
          <dgm:else name="Name7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header" styleLbl="node1"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8" axis="ch" ptType="parTrans" cnt="1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w" refType="h"/>
              <dgm:constr type="connDist"/>
              <dgm:constr type="wArH" refType="h" fact="0.25"/>
              <dgm:constr type="hArH" refType="wArH" fact="2"/>
              <dgm:constr type="stemThick" refType="hArH" fact="0.667"/>
              <dgm:constr type="begPad" refType="connDist" fact="0.25"/>
              <dgm:constr type="endPad" refType="connDist" fact="0.25"/>
            </dgm:constrLst>
            <dgm:ruleLst/>
          </dgm:layoutNode>
        </dgm:forEach>
        <dgm:forEach name="Name9" axis="ch" ptType="node">
          <dgm:layoutNode name="child" styleLbl="alignAccFollowNode1">
            <dgm:varLst>
              <dgm:chMax val="0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  <dgm:forEach name="Name10" axis="followSib" ptType="sibTrans" cnt="1">
            <dgm:layoutNode name="sibTrans" styleLbl="sibTrans2D1">
              <dgm:alg type="conn">
                <dgm:param type="begPts" val="auto"/>
                <dgm:param type="endPts" val="auto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w" refType="h"/>
                <dgm:constr type="connDist"/>
                <dgm:constr type="wArH" refType="h" fact="0.25"/>
                <dgm:constr type="hArH" refType="wArH" fact="2"/>
                <dgm:constr type="stemThick" refType="hArH" fact="0.667"/>
                <dgm:constr type="begPad" refType="w" fact="0.25"/>
                <dgm:constr type="endPad" refType="w" fact="0.25"/>
              </dgm:constrLst>
              <dgm:ruleLst/>
            </dgm:layoutNode>
          </dgm:forEach>
        </dgm:forEach>
      </dgm:layoutNode>
      <dgm:choose name="Name11">
        <dgm:if name="Name12" axis="self" ptType="node" func="revPos" op="gte" val="2">
          <dgm:layoutNode name="h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3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5/8/layout/lProcess1">
  <dgm:title val=""/>
  <dgm:desc val=""/>
  <dgm:catLst>
    <dgm:cat type="process" pri="1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1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2"/>
      </dgm:ptLst>
      <dgm:cxnLst>
        <dgm:cxn modelId="3" srcId="0" destId="1" srcOrd="0" destOrd="0"/>
        <dgm:cxn modelId="4" srcId="0" destId="2" srcOrd="0" destOrd="0"/>
        <dgm:cxn modelId="5" srcId="1" destId="11" srcOrd="0" destOrd="0"/>
        <dgm:cxn modelId="6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R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header" refType="h"/>
      <dgm:constr type="w" for="des" forName="header" refType="h" refFor="des" refForName="header" op="equ" fact="4"/>
      <dgm:constr type="h" for="des" forName="child" refType="h" refFor="des" refForName="header" op="equ"/>
      <dgm:constr type="w" for="des" forName="child" refType="w" refFor="des" refForName="header" op="equ"/>
      <dgm:constr type="w" for="ch" forName="hSp" refType="w" refFor="des" refForName="header" op="equ" fact="0.14"/>
      <dgm:constr type="h" for="des" forName="parTrans" refType="h" refFor="des" refForName="header" op="equ" fact="0.35"/>
      <dgm:constr type="h" for="des" forName="sibTrans" refType="h" refFor="des" refForName="parTrans" op="equ"/>
      <dgm:constr type="primFontSz" for="des" forName="child" op="equ" val="65"/>
      <dgm:constr type="primFontSz" for="des" forName="header" op="equ" val="65"/>
    </dgm:constrLst>
    <dgm:ruleLst/>
    <dgm:forEach name="Name4" axis="ch" ptType="node">
      <dgm:layoutNode name="vertFlow">
        <dgm:choose name="Name5">
          <dgm:if name="Name6" func="var" arg="dir" op="equ" val="norm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if>
          <dgm:else name="Name7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header" styleLbl="node1"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8" axis="ch" ptType="parTrans" cnt="1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w" refType="h"/>
              <dgm:constr type="connDist"/>
              <dgm:constr type="wArH" refType="h" fact="0.25"/>
              <dgm:constr type="hArH" refType="wArH" fact="2"/>
              <dgm:constr type="stemThick" refType="hArH" fact="0.667"/>
              <dgm:constr type="begPad" refType="connDist" fact="0.25"/>
              <dgm:constr type="endPad" refType="connDist" fact="0.25"/>
            </dgm:constrLst>
            <dgm:ruleLst/>
          </dgm:layoutNode>
        </dgm:forEach>
        <dgm:forEach name="Name9" axis="ch" ptType="node">
          <dgm:layoutNode name="child" styleLbl="alignAccFollowNode1">
            <dgm:varLst>
              <dgm:chMax val="0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  <dgm:forEach name="Name10" axis="followSib" ptType="sibTrans" cnt="1">
            <dgm:layoutNode name="sibTrans" styleLbl="sibTrans2D1">
              <dgm:alg type="conn">
                <dgm:param type="begPts" val="auto"/>
                <dgm:param type="endPts" val="auto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w" refType="h"/>
                <dgm:constr type="connDist"/>
                <dgm:constr type="wArH" refType="h" fact="0.25"/>
                <dgm:constr type="hArH" refType="wArH" fact="2"/>
                <dgm:constr type="stemThick" refType="hArH" fact="0.667"/>
                <dgm:constr type="begPad" refType="w" fact="0.25"/>
                <dgm:constr type="endPad" refType="w" fact="0.25"/>
              </dgm:constrLst>
              <dgm:ruleLst/>
            </dgm:layoutNode>
          </dgm:forEach>
        </dgm:forEach>
      </dgm:layoutNode>
      <dgm:choose name="Name11">
        <dgm:if name="Name12" axis="self" ptType="node" func="revPos" op="gte" val="2">
          <dgm:layoutNode name="h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3"/>
      </dgm:choose>
    </dgm:forEach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4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5.xml><?xml version="1.0" encoding="utf-8"?>
<dgm:layoutDef xmlns:dgm="http://schemas.openxmlformats.org/drawingml/2006/diagram" xmlns:a="http://schemas.openxmlformats.org/drawingml/2006/main" uniqueId="urn:microsoft.com/office/officeart/2005/8/layout/lProcess1">
  <dgm:title val=""/>
  <dgm:desc val=""/>
  <dgm:catLst>
    <dgm:cat type="process" pri="1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1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2"/>
      </dgm:ptLst>
      <dgm:cxnLst>
        <dgm:cxn modelId="3" srcId="0" destId="1" srcOrd="0" destOrd="0"/>
        <dgm:cxn modelId="4" srcId="0" destId="2" srcOrd="0" destOrd="0"/>
        <dgm:cxn modelId="5" srcId="1" destId="11" srcOrd="0" destOrd="0"/>
        <dgm:cxn modelId="6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R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header" refType="h"/>
      <dgm:constr type="w" for="des" forName="header" refType="h" refFor="des" refForName="header" op="equ" fact="4"/>
      <dgm:constr type="h" for="des" forName="child" refType="h" refFor="des" refForName="header" op="equ"/>
      <dgm:constr type="w" for="des" forName="child" refType="w" refFor="des" refForName="header" op="equ"/>
      <dgm:constr type="w" for="ch" forName="hSp" refType="w" refFor="des" refForName="header" op="equ" fact="0.14"/>
      <dgm:constr type="h" for="des" forName="parTrans" refType="h" refFor="des" refForName="header" op="equ" fact="0.35"/>
      <dgm:constr type="h" for="des" forName="sibTrans" refType="h" refFor="des" refForName="parTrans" op="equ"/>
      <dgm:constr type="primFontSz" for="des" forName="child" op="equ" val="65"/>
      <dgm:constr type="primFontSz" for="des" forName="header" op="equ" val="65"/>
    </dgm:constrLst>
    <dgm:ruleLst/>
    <dgm:forEach name="Name4" axis="ch" ptType="node">
      <dgm:layoutNode name="vertFlow">
        <dgm:choose name="Name5">
          <dgm:if name="Name6" func="var" arg="dir" op="equ" val="norm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if>
          <dgm:else name="Name7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header" styleLbl="node1"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8" axis="ch" ptType="parTrans" cnt="1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w" refType="h"/>
              <dgm:constr type="connDist"/>
              <dgm:constr type="wArH" refType="h" fact="0.25"/>
              <dgm:constr type="hArH" refType="wArH" fact="2"/>
              <dgm:constr type="stemThick" refType="hArH" fact="0.667"/>
              <dgm:constr type="begPad" refType="connDist" fact="0.25"/>
              <dgm:constr type="endPad" refType="connDist" fact="0.25"/>
            </dgm:constrLst>
            <dgm:ruleLst/>
          </dgm:layoutNode>
        </dgm:forEach>
        <dgm:forEach name="Name9" axis="ch" ptType="node">
          <dgm:layoutNode name="child" styleLbl="alignAccFollowNode1">
            <dgm:varLst>
              <dgm:chMax val="0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  <dgm:forEach name="Name10" axis="followSib" ptType="sibTrans" cnt="1">
            <dgm:layoutNode name="sibTrans" styleLbl="sibTrans2D1">
              <dgm:alg type="conn">
                <dgm:param type="begPts" val="auto"/>
                <dgm:param type="endPts" val="auto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w" refType="h"/>
                <dgm:constr type="connDist"/>
                <dgm:constr type="wArH" refType="h" fact="0.25"/>
                <dgm:constr type="hArH" refType="wArH" fact="2"/>
                <dgm:constr type="stemThick" refType="hArH" fact="0.667"/>
                <dgm:constr type="begPad" refType="w" fact="0.25"/>
                <dgm:constr type="endPad" refType="w" fact="0.25"/>
              </dgm:constrLst>
              <dgm:ruleLst/>
            </dgm:layoutNode>
          </dgm:forEach>
        </dgm:forEach>
      </dgm:layoutNode>
      <dgm:choose name="Name11">
        <dgm:if name="Name12" axis="self" ptType="node" func="revPos" op="gte" val="2">
          <dgm:layoutNode name="h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3"/>
      </dgm:choose>
    </dgm:forEach>
  </dgm:layoutNode>
</dgm:layoutDef>
</file>

<file path=ppt/diagrams/layout26.xml><?xml version="1.0" encoding="utf-8"?>
<dgm:layoutDef xmlns:dgm="http://schemas.openxmlformats.org/drawingml/2006/diagram" xmlns:a="http://schemas.openxmlformats.org/drawingml/2006/main" uniqueId="urn:microsoft.com/office/officeart/2005/8/layout/lProcess1">
  <dgm:title val=""/>
  <dgm:desc val=""/>
  <dgm:catLst>
    <dgm:cat type="process" pri="1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1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2"/>
      </dgm:ptLst>
      <dgm:cxnLst>
        <dgm:cxn modelId="3" srcId="0" destId="1" srcOrd="0" destOrd="0"/>
        <dgm:cxn modelId="4" srcId="0" destId="2" srcOrd="0" destOrd="0"/>
        <dgm:cxn modelId="5" srcId="1" destId="11" srcOrd="0" destOrd="0"/>
        <dgm:cxn modelId="6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R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header" refType="h"/>
      <dgm:constr type="w" for="des" forName="header" refType="h" refFor="des" refForName="header" op="equ" fact="4"/>
      <dgm:constr type="h" for="des" forName="child" refType="h" refFor="des" refForName="header" op="equ"/>
      <dgm:constr type="w" for="des" forName="child" refType="w" refFor="des" refForName="header" op="equ"/>
      <dgm:constr type="w" for="ch" forName="hSp" refType="w" refFor="des" refForName="header" op="equ" fact="0.14"/>
      <dgm:constr type="h" for="des" forName="parTrans" refType="h" refFor="des" refForName="header" op="equ" fact="0.35"/>
      <dgm:constr type="h" for="des" forName="sibTrans" refType="h" refFor="des" refForName="parTrans" op="equ"/>
      <dgm:constr type="primFontSz" for="des" forName="child" op="equ" val="65"/>
      <dgm:constr type="primFontSz" for="des" forName="header" op="equ" val="65"/>
    </dgm:constrLst>
    <dgm:ruleLst/>
    <dgm:forEach name="Name4" axis="ch" ptType="node">
      <dgm:layoutNode name="vertFlow">
        <dgm:choose name="Name5">
          <dgm:if name="Name6" func="var" arg="dir" op="equ" val="norm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if>
          <dgm:else name="Name7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header" styleLbl="node1"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8" axis="ch" ptType="parTrans" cnt="1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w" refType="h"/>
              <dgm:constr type="connDist"/>
              <dgm:constr type="wArH" refType="h" fact="0.25"/>
              <dgm:constr type="hArH" refType="wArH" fact="2"/>
              <dgm:constr type="stemThick" refType="hArH" fact="0.667"/>
              <dgm:constr type="begPad" refType="connDist" fact="0.25"/>
              <dgm:constr type="endPad" refType="connDist" fact="0.25"/>
            </dgm:constrLst>
            <dgm:ruleLst/>
          </dgm:layoutNode>
        </dgm:forEach>
        <dgm:forEach name="Name9" axis="ch" ptType="node">
          <dgm:layoutNode name="child" styleLbl="alignAccFollowNode1">
            <dgm:varLst>
              <dgm:chMax val="0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  <dgm:forEach name="Name10" axis="followSib" ptType="sibTrans" cnt="1">
            <dgm:layoutNode name="sibTrans" styleLbl="sibTrans2D1">
              <dgm:alg type="conn">
                <dgm:param type="begPts" val="auto"/>
                <dgm:param type="endPts" val="auto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w" refType="h"/>
                <dgm:constr type="connDist"/>
                <dgm:constr type="wArH" refType="h" fact="0.25"/>
                <dgm:constr type="hArH" refType="wArH" fact="2"/>
                <dgm:constr type="stemThick" refType="hArH" fact="0.667"/>
                <dgm:constr type="begPad" refType="w" fact="0.25"/>
                <dgm:constr type="endPad" refType="w" fact="0.25"/>
              </dgm:constrLst>
              <dgm:ruleLst/>
            </dgm:layoutNode>
          </dgm:forEach>
        </dgm:forEach>
      </dgm:layoutNode>
      <dgm:choose name="Name11">
        <dgm:if name="Name12" axis="self" ptType="node" func="revPos" op="gte" val="2">
          <dgm:layoutNode name="h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3"/>
      </dgm:choose>
    </dgm:forEach>
  </dgm:layoutNode>
</dgm:layoutDef>
</file>

<file path=ppt/diagrams/layout27.xml><?xml version="1.0" encoding="utf-8"?>
<dgm:layoutDef xmlns:dgm="http://schemas.openxmlformats.org/drawingml/2006/diagram" xmlns:a="http://schemas.openxmlformats.org/drawingml/2006/main" uniqueId="urn:microsoft.com/office/officeart/2005/8/layout/lProcess1">
  <dgm:title val=""/>
  <dgm:desc val=""/>
  <dgm:catLst>
    <dgm:cat type="process" pri="1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1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2"/>
      </dgm:ptLst>
      <dgm:cxnLst>
        <dgm:cxn modelId="3" srcId="0" destId="1" srcOrd="0" destOrd="0"/>
        <dgm:cxn modelId="4" srcId="0" destId="2" srcOrd="0" destOrd="0"/>
        <dgm:cxn modelId="5" srcId="1" destId="11" srcOrd="0" destOrd="0"/>
        <dgm:cxn modelId="6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R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header" refType="h"/>
      <dgm:constr type="w" for="des" forName="header" refType="h" refFor="des" refForName="header" op="equ" fact="4"/>
      <dgm:constr type="h" for="des" forName="child" refType="h" refFor="des" refForName="header" op="equ"/>
      <dgm:constr type="w" for="des" forName="child" refType="w" refFor="des" refForName="header" op="equ"/>
      <dgm:constr type="w" for="ch" forName="hSp" refType="w" refFor="des" refForName="header" op="equ" fact="0.14"/>
      <dgm:constr type="h" for="des" forName="parTrans" refType="h" refFor="des" refForName="header" op="equ" fact="0.35"/>
      <dgm:constr type="h" for="des" forName="sibTrans" refType="h" refFor="des" refForName="parTrans" op="equ"/>
      <dgm:constr type="primFontSz" for="des" forName="child" op="equ" val="65"/>
      <dgm:constr type="primFontSz" for="des" forName="header" op="equ" val="65"/>
    </dgm:constrLst>
    <dgm:ruleLst/>
    <dgm:forEach name="Name4" axis="ch" ptType="node">
      <dgm:layoutNode name="vertFlow">
        <dgm:choose name="Name5">
          <dgm:if name="Name6" func="var" arg="dir" op="equ" val="norm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if>
          <dgm:else name="Name7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header" styleLbl="node1"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8" axis="ch" ptType="parTrans" cnt="1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w" refType="h"/>
              <dgm:constr type="connDist"/>
              <dgm:constr type="wArH" refType="h" fact="0.25"/>
              <dgm:constr type="hArH" refType="wArH" fact="2"/>
              <dgm:constr type="stemThick" refType="hArH" fact="0.667"/>
              <dgm:constr type="begPad" refType="connDist" fact="0.25"/>
              <dgm:constr type="endPad" refType="connDist" fact="0.25"/>
            </dgm:constrLst>
            <dgm:ruleLst/>
          </dgm:layoutNode>
        </dgm:forEach>
        <dgm:forEach name="Name9" axis="ch" ptType="node">
          <dgm:layoutNode name="child" styleLbl="alignAccFollowNode1">
            <dgm:varLst>
              <dgm:chMax val="0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  <dgm:forEach name="Name10" axis="followSib" ptType="sibTrans" cnt="1">
            <dgm:layoutNode name="sibTrans" styleLbl="sibTrans2D1">
              <dgm:alg type="conn">
                <dgm:param type="begPts" val="auto"/>
                <dgm:param type="endPts" val="auto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w" refType="h"/>
                <dgm:constr type="connDist"/>
                <dgm:constr type="wArH" refType="h" fact="0.25"/>
                <dgm:constr type="hArH" refType="wArH" fact="2"/>
                <dgm:constr type="stemThick" refType="hArH" fact="0.667"/>
                <dgm:constr type="begPad" refType="w" fact="0.25"/>
                <dgm:constr type="endPad" refType="w" fact="0.25"/>
              </dgm:constrLst>
              <dgm:ruleLst/>
            </dgm:layoutNode>
          </dgm:forEach>
        </dgm:forEach>
      </dgm:layoutNode>
      <dgm:choose name="Name11">
        <dgm:if name="Name12" axis="self" ptType="node" func="revPos" op="gte" val="2">
          <dgm:layoutNode name="h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3"/>
      </dgm:choose>
    </dgm:forEach>
  </dgm:layoutNode>
</dgm:layoutDef>
</file>

<file path=ppt/diagrams/layout28.xml><?xml version="1.0" encoding="utf-8"?>
<dgm:layoutDef xmlns:dgm="http://schemas.openxmlformats.org/drawingml/2006/diagram" xmlns:a="http://schemas.openxmlformats.org/drawingml/2006/main" uniqueId="urn:microsoft.com/office/officeart/2005/8/layout/lProcess1">
  <dgm:title val=""/>
  <dgm:desc val=""/>
  <dgm:catLst>
    <dgm:cat type="process" pri="1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1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2"/>
      </dgm:ptLst>
      <dgm:cxnLst>
        <dgm:cxn modelId="3" srcId="0" destId="1" srcOrd="0" destOrd="0"/>
        <dgm:cxn modelId="4" srcId="0" destId="2" srcOrd="0" destOrd="0"/>
        <dgm:cxn modelId="5" srcId="1" destId="11" srcOrd="0" destOrd="0"/>
        <dgm:cxn modelId="6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R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header" refType="h"/>
      <dgm:constr type="w" for="des" forName="header" refType="h" refFor="des" refForName="header" op="equ" fact="4"/>
      <dgm:constr type="h" for="des" forName="child" refType="h" refFor="des" refForName="header" op="equ"/>
      <dgm:constr type="w" for="des" forName="child" refType="w" refFor="des" refForName="header" op="equ"/>
      <dgm:constr type="w" for="ch" forName="hSp" refType="w" refFor="des" refForName="header" op="equ" fact="0.14"/>
      <dgm:constr type="h" for="des" forName="parTrans" refType="h" refFor="des" refForName="header" op="equ" fact="0.35"/>
      <dgm:constr type="h" for="des" forName="sibTrans" refType="h" refFor="des" refForName="parTrans" op="equ"/>
      <dgm:constr type="primFontSz" for="des" forName="child" op="equ" val="65"/>
      <dgm:constr type="primFontSz" for="des" forName="header" op="equ" val="65"/>
    </dgm:constrLst>
    <dgm:ruleLst/>
    <dgm:forEach name="Name4" axis="ch" ptType="node">
      <dgm:layoutNode name="vertFlow">
        <dgm:choose name="Name5">
          <dgm:if name="Name6" func="var" arg="dir" op="equ" val="norm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if>
          <dgm:else name="Name7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header" styleLbl="node1"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8" axis="ch" ptType="parTrans" cnt="1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w" refType="h"/>
              <dgm:constr type="connDist"/>
              <dgm:constr type="wArH" refType="h" fact="0.25"/>
              <dgm:constr type="hArH" refType="wArH" fact="2"/>
              <dgm:constr type="stemThick" refType="hArH" fact="0.667"/>
              <dgm:constr type="begPad" refType="connDist" fact="0.25"/>
              <dgm:constr type="endPad" refType="connDist" fact="0.25"/>
            </dgm:constrLst>
            <dgm:ruleLst/>
          </dgm:layoutNode>
        </dgm:forEach>
        <dgm:forEach name="Name9" axis="ch" ptType="node">
          <dgm:layoutNode name="child" styleLbl="alignAccFollowNode1">
            <dgm:varLst>
              <dgm:chMax val="0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  <dgm:forEach name="Name10" axis="followSib" ptType="sibTrans" cnt="1">
            <dgm:layoutNode name="sibTrans" styleLbl="sibTrans2D1">
              <dgm:alg type="conn">
                <dgm:param type="begPts" val="auto"/>
                <dgm:param type="endPts" val="auto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w" refType="h"/>
                <dgm:constr type="connDist"/>
                <dgm:constr type="wArH" refType="h" fact="0.25"/>
                <dgm:constr type="hArH" refType="wArH" fact="2"/>
                <dgm:constr type="stemThick" refType="hArH" fact="0.667"/>
                <dgm:constr type="begPad" refType="w" fact="0.25"/>
                <dgm:constr type="endPad" refType="w" fact="0.25"/>
              </dgm:constrLst>
              <dgm:ruleLst/>
            </dgm:layoutNode>
          </dgm:forEach>
        </dgm:forEach>
      </dgm:layoutNode>
      <dgm:choose name="Name11">
        <dgm:if name="Name12" axis="self" ptType="node" func="revPos" op="gte" val="2">
          <dgm:layoutNode name="h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3"/>
      </dgm:choose>
    </dgm:forEach>
  </dgm:layoutNode>
</dgm:layoutDef>
</file>

<file path=ppt/diagrams/layout29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30.xml><?xml version="1.0" encoding="utf-8"?>
<dgm:layoutDef xmlns:dgm="http://schemas.openxmlformats.org/drawingml/2006/diagram" xmlns:a="http://schemas.openxmlformats.org/drawingml/2006/main" uniqueId="urn:microsoft.com/office/officeart/2005/8/layout/lProcess1">
  <dgm:title val=""/>
  <dgm:desc val=""/>
  <dgm:catLst>
    <dgm:cat type="process" pri="1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1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2"/>
      </dgm:ptLst>
      <dgm:cxnLst>
        <dgm:cxn modelId="3" srcId="0" destId="1" srcOrd="0" destOrd="0"/>
        <dgm:cxn modelId="4" srcId="0" destId="2" srcOrd="0" destOrd="0"/>
        <dgm:cxn modelId="5" srcId="1" destId="11" srcOrd="0" destOrd="0"/>
        <dgm:cxn modelId="6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R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header" refType="h"/>
      <dgm:constr type="w" for="des" forName="header" refType="h" refFor="des" refForName="header" op="equ" fact="4"/>
      <dgm:constr type="h" for="des" forName="child" refType="h" refFor="des" refForName="header" op="equ"/>
      <dgm:constr type="w" for="des" forName="child" refType="w" refFor="des" refForName="header" op="equ"/>
      <dgm:constr type="w" for="ch" forName="hSp" refType="w" refFor="des" refForName="header" op="equ" fact="0.14"/>
      <dgm:constr type="h" for="des" forName="parTrans" refType="h" refFor="des" refForName="header" op="equ" fact="0.35"/>
      <dgm:constr type="h" for="des" forName="sibTrans" refType="h" refFor="des" refForName="parTrans" op="equ"/>
      <dgm:constr type="primFontSz" for="des" forName="child" op="equ" val="65"/>
      <dgm:constr type="primFontSz" for="des" forName="header" op="equ" val="65"/>
    </dgm:constrLst>
    <dgm:ruleLst/>
    <dgm:forEach name="Name4" axis="ch" ptType="node">
      <dgm:layoutNode name="vertFlow">
        <dgm:choose name="Name5">
          <dgm:if name="Name6" func="var" arg="dir" op="equ" val="norm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if>
          <dgm:else name="Name7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header" styleLbl="node1"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8" axis="ch" ptType="parTrans" cnt="1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w" refType="h"/>
              <dgm:constr type="connDist"/>
              <dgm:constr type="wArH" refType="h" fact="0.25"/>
              <dgm:constr type="hArH" refType="wArH" fact="2"/>
              <dgm:constr type="stemThick" refType="hArH" fact="0.667"/>
              <dgm:constr type="begPad" refType="connDist" fact="0.25"/>
              <dgm:constr type="endPad" refType="connDist" fact="0.25"/>
            </dgm:constrLst>
            <dgm:ruleLst/>
          </dgm:layoutNode>
        </dgm:forEach>
        <dgm:forEach name="Name9" axis="ch" ptType="node">
          <dgm:layoutNode name="child" styleLbl="alignAccFollowNode1">
            <dgm:varLst>
              <dgm:chMax val="0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  <dgm:forEach name="Name10" axis="followSib" ptType="sibTrans" cnt="1">
            <dgm:layoutNode name="sibTrans" styleLbl="sibTrans2D1">
              <dgm:alg type="conn">
                <dgm:param type="begPts" val="auto"/>
                <dgm:param type="endPts" val="auto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w" refType="h"/>
                <dgm:constr type="connDist"/>
                <dgm:constr type="wArH" refType="h" fact="0.25"/>
                <dgm:constr type="hArH" refType="wArH" fact="2"/>
                <dgm:constr type="stemThick" refType="hArH" fact="0.667"/>
                <dgm:constr type="begPad" refType="w" fact="0.25"/>
                <dgm:constr type="endPad" refType="w" fact="0.25"/>
              </dgm:constrLst>
              <dgm:ruleLst/>
            </dgm:layoutNode>
          </dgm:forEach>
        </dgm:forEach>
      </dgm:layoutNode>
      <dgm:choose name="Name11">
        <dgm:if name="Name12" axis="self" ptType="node" func="revPos" op="gte" val="2">
          <dgm:layoutNode name="h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3"/>
      </dgm:choose>
    </dgm:forEach>
  </dgm:layoutNode>
</dgm:layoutDef>
</file>

<file path=ppt/diagrams/layout31.xml><?xml version="1.0" encoding="utf-8"?>
<dgm:layoutDef xmlns:dgm="http://schemas.openxmlformats.org/drawingml/2006/diagram" xmlns:a="http://schemas.openxmlformats.org/drawingml/2006/main" uniqueId="urn:microsoft.com/office/officeart/2005/8/layout/lProcess1">
  <dgm:title val=""/>
  <dgm:desc val=""/>
  <dgm:catLst>
    <dgm:cat type="process" pri="1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1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2"/>
      </dgm:ptLst>
      <dgm:cxnLst>
        <dgm:cxn modelId="3" srcId="0" destId="1" srcOrd="0" destOrd="0"/>
        <dgm:cxn modelId="4" srcId="0" destId="2" srcOrd="0" destOrd="0"/>
        <dgm:cxn modelId="5" srcId="1" destId="11" srcOrd="0" destOrd="0"/>
        <dgm:cxn modelId="6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R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header" refType="h"/>
      <dgm:constr type="w" for="des" forName="header" refType="h" refFor="des" refForName="header" op="equ" fact="4"/>
      <dgm:constr type="h" for="des" forName="child" refType="h" refFor="des" refForName="header" op="equ"/>
      <dgm:constr type="w" for="des" forName="child" refType="w" refFor="des" refForName="header" op="equ"/>
      <dgm:constr type="w" for="ch" forName="hSp" refType="w" refFor="des" refForName="header" op="equ" fact="0.14"/>
      <dgm:constr type="h" for="des" forName="parTrans" refType="h" refFor="des" refForName="header" op="equ" fact="0.35"/>
      <dgm:constr type="h" for="des" forName="sibTrans" refType="h" refFor="des" refForName="parTrans" op="equ"/>
      <dgm:constr type="primFontSz" for="des" forName="child" op="equ" val="65"/>
      <dgm:constr type="primFontSz" for="des" forName="header" op="equ" val="65"/>
    </dgm:constrLst>
    <dgm:ruleLst/>
    <dgm:forEach name="Name4" axis="ch" ptType="node">
      <dgm:layoutNode name="vertFlow">
        <dgm:choose name="Name5">
          <dgm:if name="Name6" func="var" arg="dir" op="equ" val="norm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if>
          <dgm:else name="Name7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header" styleLbl="node1"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8" axis="ch" ptType="parTrans" cnt="1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w" refType="h"/>
              <dgm:constr type="connDist"/>
              <dgm:constr type="wArH" refType="h" fact="0.25"/>
              <dgm:constr type="hArH" refType="wArH" fact="2"/>
              <dgm:constr type="stemThick" refType="hArH" fact="0.667"/>
              <dgm:constr type="begPad" refType="connDist" fact="0.25"/>
              <dgm:constr type="endPad" refType="connDist" fact="0.25"/>
            </dgm:constrLst>
            <dgm:ruleLst/>
          </dgm:layoutNode>
        </dgm:forEach>
        <dgm:forEach name="Name9" axis="ch" ptType="node">
          <dgm:layoutNode name="child" styleLbl="alignAccFollowNode1">
            <dgm:varLst>
              <dgm:chMax val="0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  <dgm:forEach name="Name10" axis="followSib" ptType="sibTrans" cnt="1">
            <dgm:layoutNode name="sibTrans" styleLbl="sibTrans2D1">
              <dgm:alg type="conn">
                <dgm:param type="begPts" val="auto"/>
                <dgm:param type="endPts" val="auto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w" refType="h"/>
                <dgm:constr type="connDist"/>
                <dgm:constr type="wArH" refType="h" fact="0.25"/>
                <dgm:constr type="hArH" refType="wArH" fact="2"/>
                <dgm:constr type="stemThick" refType="hArH" fact="0.667"/>
                <dgm:constr type="begPad" refType="w" fact="0.25"/>
                <dgm:constr type="endPad" refType="w" fact="0.25"/>
              </dgm:constrLst>
              <dgm:ruleLst/>
            </dgm:layoutNode>
          </dgm:forEach>
        </dgm:forEach>
      </dgm:layoutNode>
      <dgm:choose name="Name11">
        <dgm:if name="Name12" axis="self" ptType="node" func="revPos" op="gte" val="2">
          <dgm:layoutNode name="h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3"/>
      </dgm:choose>
    </dgm:forEach>
  </dgm:layoutNode>
</dgm:layoutDef>
</file>

<file path=ppt/diagrams/layout32.xml><?xml version="1.0" encoding="utf-8"?>
<dgm:layoutDef xmlns:dgm="http://schemas.openxmlformats.org/drawingml/2006/diagram" xmlns:a="http://schemas.openxmlformats.org/drawingml/2006/main" uniqueId="urn:microsoft.com/office/officeart/2005/8/layout/lProcess1">
  <dgm:title val=""/>
  <dgm:desc val=""/>
  <dgm:catLst>
    <dgm:cat type="process" pri="1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1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2"/>
      </dgm:ptLst>
      <dgm:cxnLst>
        <dgm:cxn modelId="3" srcId="0" destId="1" srcOrd="0" destOrd="0"/>
        <dgm:cxn modelId="4" srcId="0" destId="2" srcOrd="0" destOrd="0"/>
        <dgm:cxn modelId="5" srcId="1" destId="11" srcOrd="0" destOrd="0"/>
        <dgm:cxn modelId="6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R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header" refType="h"/>
      <dgm:constr type="w" for="des" forName="header" refType="h" refFor="des" refForName="header" op="equ" fact="4"/>
      <dgm:constr type="h" for="des" forName="child" refType="h" refFor="des" refForName="header" op="equ"/>
      <dgm:constr type="w" for="des" forName="child" refType="w" refFor="des" refForName="header" op="equ"/>
      <dgm:constr type="w" for="ch" forName="hSp" refType="w" refFor="des" refForName="header" op="equ" fact="0.14"/>
      <dgm:constr type="h" for="des" forName="parTrans" refType="h" refFor="des" refForName="header" op="equ" fact="0.35"/>
      <dgm:constr type="h" for="des" forName="sibTrans" refType="h" refFor="des" refForName="parTrans" op="equ"/>
      <dgm:constr type="primFontSz" for="des" forName="child" op="equ" val="65"/>
      <dgm:constr type="primFontSz" for="des" forName="header" op="equ" val="65"/>
    </dgm:constrLst>
    <dgm:ruleLst/>
    <dgm:forEach name="Name4" axis="ch" ptType="node">
      <dgm:layoutNode name="vertFlow">
        <dgm:choose name="Name5">
          <dgm:if name="Name6" func="var" arg="dir" op="equ" val="norm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if>
          <dgm:else name="Name7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header" styleLbl="node1"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8" axis="ch" ptType="parTrans" cnt="1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w" refType="h"/>
              <dgm:constr type="connDist"/>
              <dgm:constr type="wArH" refType="h" fact="0.25"/>
              <dgm:constr type="hArH" refType="wArH" fact="2"/>
              <dgm:constr type="stemThick" refType="hArH" fact="0.667"/>
              <dgm:constr type="begPad" refType="connDist" fact="0.25"/>
              <dgm:constr type="endPad" refType="connDist" fact="0.25"/>
            </dgm:constrLst>
            <dgm:ruleLst/>
          </dgm:layoutNode>
        </dgm:forEach>
        <dgm:forEach name="Name9" axis="ch" ptType="node">
          <dgm:layoutNode name="child" styleLbl="alignAccFollowNode1">
            <dgm:varLst>
              <dgm:chMax val="0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  <dgm:forEach name="Name10" axis="followSib" ptType="sibTrans" cnt="1">
            <dgm:layoutNode name="sibTrans" styleLbl="sibTrans2D1">
              <dgm:alg type="conn">
                <dgm:param type="begPts" val="auto"/>
                <dgm:param type="endPts" val="auto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w" refType="h"/>
                <dgm:constr type="connDist"/>
                <dgm:constr type="wArH" refType="h" fact="0.25"/>
                <dgm:constr type="hArH" refType="wArH" fact="2"/>
                <dgm:constr type="stemThick" refType="hArH" fact="0.667"/>
                <dgm:constr type="begPad" refType="w" fact="0.25"/>
                <dgm:constr type="endPad" refType="w" fact="0.25"/>
              </dgm:constrLst>
              <dgm:ruleLst/>
            </dgm:layoutNode>
          </dgm:forEach>
        </dgm:forEach>
      </dgm:layoutNode>
      <dgm:choose name="Name11">
        <dgm:if name="Name12" axis="self" ptType="node" func="revPos" op="gte" val="2">
          <dgm:layoutNode name="h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3"/>
      </dgm:choose>
    </dgm:forEach>
  </dgm:layoutNode>
</dgm:layoutDef>
</file>

<file path=ppt/diagrams/layout33.xml><?xml version="1.0" encoding="utf-8"?>
<dgm:layoutDef xmlns:dgm="http://schemas.openxmlformats.org/drawingml/2006/diagram" xmlns:a="http://schemas.openxmlformats.org/drawingml/2006/main" uniqueId="urn:microsoft.com/office/officeart/2005/8/layout/lProcess1">
  <dgm:title val=""/>
  <dgm:desc val=""/>
  <dgm:catLst>
    <dgm:cat type="process" pri="1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1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2"/>
      </dgm:ptLst>
      <dgm:cxnLst>
        <dgm:cxn modelId="3" srcId="0" destId="1" srcOrd="0" destOrd="0"/>
        <dgm:cxn modelId="4" srcId="0" destId="2" srcOrd="0" destOrd="0"/>
        <dgm:cxn modelId="5" srcId="1" destId="11" srcOrd="0" destOrd="0"/>
        <dgm:cxn modelId="6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R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header" refType="h"/>
      <dgm:constr type="w" for="des" forName="header" refType="h" refFor="des" refForName="header" op="equ" fact="4"/>
      <dgm:constr type="h" for="des" forName="child" refType="h" refFor="des" refForName="header" op="equ"/>
      <dgm:constr type="w" for="des" forName="child" refType="w" refFor="des" refForName="header" op="equ"/>
      <dgm:constr type="w" for="ch" forName="hSp" refType="w" refFor="des" refForName="header" op="equ" fact="0.14"/>
      <dgm:constr type="h" for="des" forName="parTrans" refType="h" refFor="des" refForName="header" op="equ" fact="0.35"/>
      <dgm:constr type="h" for="des" forName="sibTrans" refType="h" refFor="des" refForName="parTrans" op="equ"/>
      <dgm:constr type="primFontSz" for="des" forName="child" op="equ" val="65"/>
      <dgm:constr type="primFontSz" for="des" forName="header" op="equ" val="65"/>
    </dgm:constrLst>
    <dgm:ruleLst/>
    <dgm:forEach name="Name4" axis="ch" ptType="node">
      <dgm:layoutNode name="vertFlow">
        <dgm:choose name="Name5">
          <dgm:if name="Name6" func="var" arg="dir" op="equ" val="norm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if>
          <dgm:else name="Name7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header" styleLbl="node1"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8" axis="ch" ptType="parTrans" cnt="1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w" refType="h"/>
              <dgm:constr type="connDist"/>
              <dgm:constr type="wArH" refType="h" fact="0.25"/>
              <dgm:constr type="hArH" refType="wArH" fact="2"/>
              <dgm:constr type="stemThick" refType="hArH" fact="0.667"/>
              <dgm:constr type="begPad" refType="connDist" fact="0.25"/>
              <dgm:constr type="endPad" refType="connDist" fact="0.25"/>
            </dgm:constrLst>
            <dgm:ruleLst/>
          </dgm:layoutNode>
        </dgm:forEach>
        <dgm:forEach name="Name9" axis="ch" ptType="node">
          <dgm:layoutNode name="child" styleLbl="alignAccFollowNode1">
            <dgm:varLst>
              <dgm:chMax val="0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  <dgm:forEach name="Name10" axis="followSib" ptType="sibTrans" cnt="1">
            <dgm:layoutNode name="sibTrans" styleLbl="sibTrans2D1">
              <dgm:alg type="conn">
                <dgm:param type="begPts" val="auto"/>
                <dgm:param type="endPts" val="auto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w" refType="h"/>
                <dgm:constr type="connDist"/>
                <dgm:constr type="wArH" refType="h" fact="0.25"/>
                <dgm:constr type="hArH" refType="wArH" fact="2"/>
                <dgm:constr type="stemThick" refType="hArH" fact="0.667"/>
                <dgm:constr type="begPad" refType="w" fact="0.25"/>
                <dgm:constr type="endPad" refType="w" fact="0.25"/>
              </dgm:constrLst>
              <dgm:ruleLst/>
            </dgm:layoutNode>
          </dgm:forEach>
        </dgm:forEach>
      </dgm:layoutNode>
      <dgm:choose name="Name11">
        <dgm:if name="Name12" axis="self" ptType="node" func="revPos" op="gte" val="2">
          <dgm:layoutNode name="h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3"/>
      </dgm:choose>
    </dgm:forEach>
  </dgm:layoutNode>
</dgm:layoutDef>
</file>

<file path=ppt/diagrams/layout34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5.xml><?xml version="1.0" encoding="utf-8"?>
<dgm:layoutDef xmlns:dgm="http://schemas.openxmlformats.org/drawingml/2006/diagram" xmlns:a="http://schemas.openxmlformats.org/drawingml/2006/main" uniqueId="urn:microsoft.com/office/officeart/2005/8/layout/lProcess1">
  <dgm:title val=""/>
  <dgm:desc val=""/>
  <dgm:catLst>
    <dgm:cat type="process" pri="1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1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2"/>
      </dgm:ptLst>
      <dgm:cxnLst>
        <dgm:cxn modelId="3" srcId="0" destId="1" srcOrd="0" destOrd="0"/>
        <dgm:cxn modelId="4" srcId="0" destId="2" srcOrd="0" destOrd="0"/>
        <dgm:cxn modelId="5" srcId="1" destId="11" srcOrd="0" destOrd="0"/>
        <dgm:cxn modelId="6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R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header" refType="h"/>
      <dgm:constr type="w" for="des" forName="header" refType="h" refFor="des" refForName="header" op="equ" fact="4"/>
      <dgm:constr type="h" for="des" forName="child" refType="h" refFor="des" refForName="header" op="equ"/>
      <dgm:constr type="w" for="des" forName="child" refType="w" refFor="des" refForName="header" op="equ"/>
      <dgm:constr type="w" for="ch" forName="hSp" refType="w" refFor="des" refForName="header" op="equ" fact="0.14"/>
      <dgm:constr type="h" for="des" forName="parTrans" refType="h" refFor="des" refForName="header" op="equ" fact="0.35"/>
      <dgm:constr type="h" for="des" forName="sibTrans" refType="h" refFor="des" refForName="parTrans" op="equ"/>
      <dgm:constr type="primFontSz" for="des" forName="child" op="equ" val="65"/>
      <dgm:constr type="primFontSz" for="des" forName="header" op="equ" val="65"/>
    </dgm:constrLst>
    <dgm:ruleLst/>
    <dgm:forEach name="Name4" axis="ch" ptType="node">
      <dgm:layoutNode name="vertFlow">
        <dgm:choose name="Name5">
          <dgm:if name="Name6" func="var" arg="dir" op="equ" val="norm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if>
          <dgm:else name="Name7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header" styleLbl="node1"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8" axis="ch" ptType="parTrans" cnt="1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w" refType="h"/>
              <dgm:constr type="connDist"/>
              <dgm:constr type="wArH" refType="h" fact="0.25"/>
              <dgm:constr type="hArH" refType="wArH" fact="2"/>
              <dgm:constr type="stemThick" refType="hArH" fact="0.667"/>
              <dgm:constr type="begPad" refType="connDist" fact="0.25"/>
              <dgm:constr type="endPad" refType="connDist" fact="0.25"/>
            </dgm:constrLst>
            <dgm:ruleLst/>
          </dgm:layoutNode>
        </dgm:forEach>
        <dgm:forEach name="Name9" axis="ch" ptType="node">
          <dgm:layoutNode name="child" styleLbl="alignAccFollowNode1">
            <dgm:varLst>
              <dgm:chMax val="0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  <dgm:forEach name="Name10" axis="followSib" ptType="sibTrans" cnt="1">
            <dgm:layoutNode name="sibTrans" styleLbl="sibTrans2D1">
              <dgm:alg type="conn">
                <dgm:param type="begPts" val="auto"/>
                <dgm:param type="endPts" val="auto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w" refType="h"/>
                <dgm:constr type="connDist"/>
                <dgm:constr type="wArH" refType="h" fact="0.25"/>
                <dgm:constr type="hArH" refType="wArH" fact="2"/>
                <dgm:constr type="stemThick" refType="hArH" fact="0.667"/>
                <dgm:constr type="begPad" refType="w" fact="0.25"/>
                <dgm:constr type="endPad" refType="w" fact="0.25"/>
              </dgm:constrLst>
              <dgm:ruleLst/>
            </dgm:layoutNode>
          </dgm:forEach>
        </dgm:forEach>
      </dgm:layoutNode>
      <dgm:choose name="Name11">
        <dgm:if name="Name12" axis="self" ptType="node" func="revPos" op="gte" val="2">
          <dgm:layoutNode name="h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3"/>
      </dgm:choose>
    </dgm:forEach>
  </dgm:layoutNode>
</dgm:layoutDef>
</file>

<file path=ppt/diagrams/layout36.xml><?xml version="1.0" encoding="utf-8"?>
<dgm:layoutDef xmlns:dgm="http://schemas.openxmlformats.org/drawingml/2006/diagram" xmlns:a="http://schemas.openxmlformats.org/drawingml/2006/main" uniqueId="urn:microsoft.com/office/officeart/2005/8/layout/lProcess1">
  <dgm:title val=""/>
  <dgm:desc val=""/>
  <dgm:catLst>
    <dgm:cat type="process" pri="1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1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2"/>
      </dgm:ptLst>
      <dgm:cxnLst>
        <dgm:cxn modelId="3" srcId="0" destId="1" srcOrd="0" destOrd="0"/>
        <dgm:cxn modelId="4" srcId="0" destId="2" srcOrd="0" destOrd="0"/>
        <dgm:cxn modelId="5" srcId="1" destId="11" srcOrd="0" destOrd="0"/>
        <dgm:cxn modelId="6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R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header" refType="h"/>
      <dgm:constr type="w" for="des" forName="header" refType="h" refFor="des" refForName="header" op="equ" fact="4"/>
      <dgm:constr type="h" for="des" forName="child" refType="h" refFor="des" refForName="header" op="equ"/>
      <dgm:constr type="w" for="des" forName="child" refType="w" refFor="des" refForName="header" op="equ"/>
      <dgm:constr type="w" for="ch" forName="hSp" refType="w" refFor="des" refForName="header" op="equ" fact="0.14"/>
      <dgm:constr type="h" for="des" forName="parTrans" refType="h" refFor="des" refForName="header" op="equ" fact="0.35"/>
      <dgm:constr type="h" for="des" forName="sibTrans" refType="h" refFor="des" refForName="parTrans" op="equ"/>
      <dgm:constr type="primFontSz" for="des" forName="child" op="equ" val="65"/>
      <dgm:constr type="primFontSz" for="des" forName="header" op="equ" val="65"/>
    </dgm:constrLst>
    <dgm:ruleLst/>
    <dgm:forEach name="Name4" axis="ch" ptType="node">
      <dgm:layoutNode name="vertFlow">
        <dgm:choose name="Name5">
          <dgm:if name="Name6" func="var" arg="dir" op="equ" val="norm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if>
          <dgm:else name="Name7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header" styleLbl="node1"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8" axis="ch" ptType="parTrans" cnt="1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w" refType="h"/>
              <dgm:constr type="connDist"/>
              <dgm:constr type="wArH" refType="h" fact="0.25"/>
              <dgm:constr type="hArH" refType="wArH" fact="2"/>
              <dgm:constr type="stemThick" refType="hArH" fact="0.667"/>
              <dgm:constr type="begPad" refType="connDist" fact="0.25"/>
              <dgm:constr type="endPad" refType="connDist" fact="0.25"/>
            </dgm:constrLst>
            <dgm:ruleLst/>
          </dgm:layoutNode>
        </dgm:forEach>
        <dgm:forEach name="Name9" axis="ch" ptType="node">
          <dgm:layoutNode name="child" styleLbl="alignAccFollowNode1">
            <dgm:varLst>
              <dgm:chMax val="0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  <dgm:forEach name="Name10" axis="followSib" ptType="sibTrans" cnt="1">
            <dgm:layoutNode name="sibTrans" styleLbl="sibTrans2D1">
              <dgm:alg type="conn">
                <dgm:param type="begPts" val="auto"/>
                <dgm:param type="endPts" val="auto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w" refType="h"/>
                <dgm:constr type="connDist"/>
                <dgm:constr type="wArH" refType="h" fact="0.25"/>
                <dgm:constr type="hArH" refType="wArH" fact="2"/>
                <dgm:constr type="stemThick" refType="hArH" fact="0.667"/>
                <dgm:constr type="begPad" refType="w" fact="0.25"/>
                <dgm:constr type="endPad" refType="w" fact="0.25"/>
              </dgm:constrLst>
              <dgm:ruleLst/>
            </dgm:layoutNode>
          </dgm:forEach>
        </dgm:forEach>
      </dgm:layoutNode>
      <dgm:choose name="Name11">
        <dgm:if name="Name12" axis="self" ptType="node" func="revPos" op="gte" val="2">
          <dgm:layoutNode name="h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3"/>
      </dgm:choose>
    </dgm:forEach>
  </dgm:layoutNode>
</dgm:layoutDef>
</file>

<file path=ppt/diagrams/layout37.xml><?xml version="1.0" encoding="utf-8"?>
<dgm:layoutDef xmlns:dgm="http://schemas.openxmlformats.org/drawingml/2006/diagram" xmlns:a="http://schemas.openxmlformats.org/drawingml/2006/main" uniqueId="urn:microsoft.com/office/officeart/2005/8/layout/lProcess1">
  <dgm:title val=""/>
  <dgm:desc val=""/>
  <dgm:catLst>
    <dgm:cat type="process" pri="1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1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2"/>
      </dgm:ptLst>
      <dgm:cxnLst>
        <dgm:cxn modelId="3" srcId="0" destId="1" srcOrd="0" destOrd="0"/>
        <dgm:cxn modelId="4" srcId="0" destId="2" srcOrd="0" destOrd="0"/>
        <dgm:cxn modelId="5" srcId="1" destId="11" srcOrd="0" destOrd="0"/>
        <dgm:cxn modelId="6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R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header" refType="h"/>
      <dgm:constr type="w" for="des" forName="header" refType="h" refFor="des" refForName="header" op="equ" fact="4"/>
      <dgm:constr type="h" for="des" forName="child" refType="h" refFor="des" refForName="header" op="equ"/>
      <dgm:constr type="w" for="des" forName="child" refType="w" refFor="des" refForName="header" op="equ"/>
      <dgm:constr type="w" for="ch" forName="hSp" refType="w" refFor="des" refForName="header" op="equ" fact="0.14"/>
      <dgm:constr type="h" for="des" forName="parTrans" refType="h" refFor="des" refForName="header" op="equ" fact="0.35"/>
      <dgm:constr type="h" for="des" forName="sibTrans" refType="h" refFor="des" refForName="parTrans" op="equ"/>
      <dgm:constr type="primFontSz" for="des" forName="child" op="equ" val="65"/>
      <dgm:constr type="primFontSz" for="des" forName="header" op="equ" val="65"/>
    </dgm:constrLst>
    <dgm:ruleLst/>
    <dgm:forEach name="Name4" axis="ch" ptType="node">
      <dgm:layoutNode name="vertFlow">
        <dgm:choose name="Name5">
          <dgm:if name="Name6" func="var" arg="dir" op="equ" val="norm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if>
          <dgm:else name="Name7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header" styleLbl="node1"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8" axis="ch" ptType="parTrans" cnt="1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w" refType="h"/>
              <dgm:constr type="connDist"/>
              <dgm:constr type="wArH" refType="h" fact="0.25"/>
              <dgm:constr type="hArH" refType="wArH" fact="2"/>
              <dgm:constr type="stemThick" refType="hArH" fact="0.667"/>
              <dgm:constr type="begPad" refType="connDist" fact="0.25"/>
              <dgm:constr type="endPad" refType="connDist" fact="0.25"/>
            </dgm:constrLst>
            <dgm:ruleLst/>
          </dgm:layoutNode>
        </dgm:forEach>
        <dgm:forEach name="Name9" axis="ch" ptType="node">
          <dgm:layoutNode name="child" styleLbl="alignAccFollowNode1">
            <dgm:varLst>
              <dgm:chMax val="0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  <dgm:forEach name="Name10" axis="followSib" ptType="sibTrans" cnt="1">
            <dgm:layoutNode name="sibTrans" styleLbl="sibTrans2D1">
              <dgm:alg type="conn">
                <dgm:param type="begPts" val="auto"/>
                <dgm:param type="endPts" val="auto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w" refType="h"/>
                <dgm:constr type="connDist"/>
                <dgm:constr type="wArH" refType="h" fact="0.25"/>
                <dgm:constr type="hArH" refType="wArH" fact="2"/>
                <dgm:constr type="stemThick" refType="hArH" fact="0.667"/>
                <dgm:constr type="begPad" refType="w" fact="0.25"/>
                <dgm:constr type="endPad" refType="w" fact="0.25"/>
              </dgm:constrLst>
              <dgm:ruleLst/>
            </dgm:layoutNode>
          </dgm:forEach>
        </dgm:forEach>
      </dgm:layoutNode>
      <dgm:choose name="Name11">
        <dgm:if name="Name12" axis="self" ptType="node" func="revPos" op="gte" val="2">
          <dgm:layoutNode name="h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3"/>
      </dgm:choose>
    </dgm:forEach>
  </dgm:layoutNode>
</dgm:layoutDef>
</file>

<file path=ppt/diagrams/layout38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9.xml><?xml version="1.0" encoding="utf-8"?>
<dgm:layoutDef xmlns:dgm="http://schemas.openxmlformats.org/drawingml/2006/diagram" xmlns:a="http://schemas.openxmlformats.org/drawingml/2006/main" uniqueId="urn:microsoft.com/office/officeart/2005/8/layout/lProcess1">
  <dgm:title val=""/>
  <dgm:desc val=""/>
  <dgm:catLst>
    <dgm:cat type="process" pri="1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1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2"/>
      </dgm:ptLst>
      <dgm:cxnLst>
        <dgm:cxn modelId="3" srcId="0" destId="1" srcOrd="0" destOrd="0"/>
        <dgm:cxn modelId="4" srcId="0" destId="2" srcOrd="0" destOrd="0"/>
        <dgm:cxn modelId="5" srcId="1" destId="11" srcOrd="0" destOrd="0"/>
        <dgm:cxn modelId="6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R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header" refType="h"/>
      <dgm:constr type="w" for="des" forName="header" refType="h" refFor="des" refForName="header" op="equ" fact="4"/>
      <dgm:constr type="h" for="des" forName="child" refType="h" refFor="des" refForName="header" op="equ"/>
      <dgm:constr type="w" for="des" forName="child" refType="w" refFor="des" refForName="header" op="equ"/>
      <dgm:constr type="w" for="ch" forName="hSp" refType="w" refFor="des" refForName="header" op="equ" fact="0.14"/>
      <dgm:constr type="h" for="des" forName="parTrans" refType="h" refFor="des" refForName="header" op="equ" fact="0.35"/>
      <dgm:constr type="h" for="des" forName="sibTrans" refType="h" refFor="des" refForName="parTrans" op="equ"/>
      <dgm:constr type="primFontSz" for="des" forName="child" op="equ" val="65"/>
      <dgm:constr type="primFontSz" for="des" forName="header" op="equ" val="65"/>
    </dgm:constrLst>
    <dgm:ruleLst/>
    <dgm:forEach name="Name4" axis="ch" ptType="node">
      <dgm:layoutNode name="vertFlow">
        <dgm:choose name="Name5">
          <dgm:if name="Name6" func="var" arg="dir" op="equ" val="norm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if>
          <dgm:else name="Name7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header" styleLbl="node1"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8" axis="ch" ptType="parTrans" cnt="1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w" refType="h"/>
              <dgm:constr type="connDist"/>
              <dgm:constr type="wArH" refType="h" fact="0.25"/>
              <dgm:constr type="hArH" refType="wArH" fact="2"/>
              <dgm:constr type="stemThick" refType="hArH" fact="0.667"/>
              <dgm:constr type="begPad" refType="connDist" fact="0.25"/>
              <dgm:constr type="endPad" refType="connDist" fact="0.25"/>
            </dgm:constrLst>
            <dgm:ruleLst/>
          </dgm:layoutNode>
        </dgm:forEach>
        <dgm:forEach name="Name9" axis="ch" ptType="node">
          <dgm:layoutNode name="child" styleLbl="alignAccFollowNode1">
            <dgm:varLst>
              <dgm:chMax val="0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  <dgm:forEach name="Name10" axis="followSib" ptType="sibTrans" cnt="1">
            <dgm:layoutNode name="sibTrans" styleLbl="sibTrans2D1">
              <dgm:alg type="conn">
                <dgm:param type="begPts" val="auto"/>
                <dgm:param type="endPts" val="auto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w" refType="h"/>
                <dgm:constr type="connDist"/>
                <dgm:constr type="wArH" refType="h" fact="0.25"/>
                <dgm:constr type="hArH" refType="wArH" fact="2"/>
                <dgm:constr type="stemThick" refType="hArH" fact="0.667"/>
                <dgm:constr type="begPad" refType="w" fact="0.25"/>
                <dgm:constr type="endPad" refType="w" fact="0.25"/>
              </dgm:constrLst>
              <dgm:ruleLst/>
            </dgm:layoutNode>
          </dgm:forEach>
        </dgm:forEach>
      </dgm:layoutNode>
      <dgm:choose name="Name11">
        <dgm:if name="Name12" axis="self" ptType="node" func="revPos" op="gte" val="2">
          <dgm:layoutNode name="h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3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0.xml><?xml version="1.0" encoding="utf-8"?>
<dgm:layoutDef xmlns:dgm="http://schemas.openxmlformats.org/drawingml/2006/diagram" xmlns:a="http://schemas.openxmlformats.org/drawingml/2006/main" uniqueId="urn:microsoft.com/office/officeart/2005/8/layout/lProcess1">
  <dgm:title val=""/>
  <dgm:desc val=""/>
  <dgm:catLst>
    <dgm:cat type="process" pri="1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1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2"/>
      </dgm:ptLst>
      <dgm:cxnLst>
        <dgm:cxn modelId="3" srcId="0" destId="1" srcOrd="0" destOrd="0"/>
        <dgm:cxn modelId="4" srcId="0" destId="2" srcOrd="0" destOrd="0"/>
        <dgm:cxn modelId="5" srcId="1" destId="11" srcOrd="0" destOrd="0"/>
        <dgm:cxn modelId="6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R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header" refType="h"/>
      <dgm:constr type="w" for="des" forName="header" refType="h" refFor="des" refForName="header" op="equ" fact="4"/>
      <dgm:constr type="h" for="des" forName="child" refType="h" refFor="des" refForName="header" op="equ"/>
      <dgm:constr type="w" for="des" forName="child" refType="w" refFor="des" refForName="header" op="equ"/>
      <dgm:constr type="w" for="ch" forName="hSp" refType="w" refFor="des" refForName="header" op="equ" fact="0.14"/>
      <dgm:constr type="h" for="des" forName="parTrans" refType="h" refFor="des" refForName="header" op="equ" fact="0.35"/>
      <dgm:constr type="h" for="des" forName="sibTrans" refType="h" refFor="des" refForName="parTrans" op="equ"/>
      <dgm:constr type="primFontSz" for="des" forName="child" op="equ" val="65"/>
      <dgm:constr type="primFontSz" for="des" forName="header" op="equ" val="65"/>
    </dgm:constrLst>
    <dgm:ruleLst/>
    <dgm:forEach name="Name4" axis="ch" ptType="node">
      <dgm:layoutNode name="vertFlow">
        <dgm:choose name="Name5">
          <dgm:if name="Name6" func="var" arg="dir" op="equ" val="norm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if>
          <dgm:else name="Name7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header" styleLbl="node1"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8" axis="ch" ptType="parTrans" cnt="1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w" refType="h"/>
              <dgm:constr type="connDist"/>
              <dgm:constr type="wArH" refType="h" fact="0.25"/>
              <dgm:constr type="hArH" refType="wArH" fact="2"/>
              <dgm:constr type="stemThick" refType="hArH" fact="0.667"/>
              <dgm:constr type="begPad" refType="connDist" fact="0.25"/>
              <dgm:constr type="endPad" refType="connDist" fact="0.25"/>
            </dgm:constrLst>
            <dgm:ruleLst/>
          </dgm:layoutNode>
        </dgm:forEach>
        <dgm:forEach name="Name9" axis="ch" ptType="node">
          <dgm:layoutNode name="child" styleLbl="alignAccFollowNode1">
            <dgm:varLst>
              <dgm:chMax val="0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  <dgm:forEach name="Name10" axis="followSib" ptType="sibTrans" cnt="1">
            <dgm:layoutNode name="sibTrans" styleLbl="sibTrans2D1">
              <dgm:alg type="conn">
                <dgm:param type="begPts" val="auto"/>
                <dgm:param type="endPts" val="auto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w" refType="h"/>
                <dgm:constr type="connDist"/>
                <dgm:constr type="wArH" refType="h" fact="0.25"/>
                <dgm:constr type="hArH" refType="wArH" fact="2"/>
                <dgm:constr type="stemThick" refType="hArH" fact="0.667"/>
                <dgm:constr type="begPad" refType="w" fact="0.25"/>
                <dgm:constr type="endPad" refType="w" fact="0.25"/>
              </dgm:constrLst>
              <dgm:ruleLst/>
            </dgm:layoutNode>
          </dgm:forEach>
        </dgm:forEach>
      </dgm:layoutNode>
      <dgm:choose name="Name11">
        <dgm:if name="Name12" axis="self" ptType="node" func="revPos" op="gte" val="2">
          <dgm:layoutNode name="h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3"/>
      </dgm:choose>
    </dgm:forEach>
  </dgm:layoutNode>
</dgm:layoutDef>
</file>

<file path=ppt/diagrams/layout41.xml><?xml version="1.0" encoding="utf-8"?>
<dgm:layoutDef xmlns:dgm="http://schemas.openxmlformats.org/drawingml/2006/diagram" xmlns:a="http://schemas.openxmlformats.org/drawingml/2006/main" uniqueId="urn:microsoft.com/office/officeart/2005/8/layout/lProcess1">
  <dgm:title val=""/>
  <dgm:desc val=""/>
  <dgm:catLst>
    <dgm:cat type="process" pri="1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1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2"/>
      </dgm:ptLst>
      <dgm:cxnLst>
        <dgm:cxn modelId="3" srcId="0" destId="1" srcOrd="0" destOrd="0"/>
        <dgm:cxn modelId="4" srcId="0" destId="2" srcOrd="0" destOrd="0"/>
        <dgm:cxn modelId="5" srcId="1" destId="11" srcOrd="0" destOrd="0"/>
        <dgm:cxn modelId="6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R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header" refType="h"/>
      <dgm:constr type="w" for="des" forName="header" refType="h" refFor="des" refForName="header" op="equ" fact="4"/>
      <dgm:constr type="h" for="des" forName="child" refType="h" refFor="des" refForName="header" op="equ"/>
      <dgm:constr type="w" for="des" forName="child" refType="w" refFor="des" refForName="header" op="equ"/>
      <dgm:constr type="w" for="ch" forName="hSp" refType="w" refFor="des" refForName="header" op="equ" fact="0.14"/>
      <dgm:constr type="h" for="des" forName="parTrans" refType="h" refFor="des" refForName="header" op="equ" fact="0.35"/>
      <dgm:constr type="h" for="des" forName="sibTrans" refType="h" refFor="des" refForName="parTrans" op="equ"/>
      <dgm:constr type="primFontSz" for="des" forName="child" op="equ" val="65"/>
      <dgm:constr type="primFontSz" for="des" forName="header" op="equ" val="65"/>
    </dgm:constrLst>
    <dgm:ruleLst/>
    <dgm:forEach name="Name4" axis="ch" ptType="node">
      <dgm:layoutNode name="vertFlow">
        <dgm:choose name="Name5">
          <dgm:if name="Name6" func="var" arg="dir" op="equ" val="norm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if>
          <dgm:else name="Name7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header" styleLbl="node1"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8" axis="ch" ptType="parTrans" cnt="1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w" refType="h"/>
              <dgm:constr type="connDist"/>
              <dgm:constr type="wArH" refType="h" fact="0.25"/>
              <dgm:constr type="hArH" refType="wArH" fact="2"/>
              <dgm:constr type="stemThick" refType="hArH" fact="0.667"/>
              <dgm:constr type="begPad" refType="connDist" fact="0.25"/>
              <dgm:constr type="endPad" refType="connDist" fact="0.25"/>
            </dgm:constrLst>
            <dgm:ruleLst/>
          </dgm:layoutNode>
        </dgm:forEach>
        <dgm:forEach name="Name9" axis="ch" ptType="node">
          <dgm:layoutNode name="child" styleLbl="alignAccFollowNode1">
            <dgm:varLst>
              <dgm:chMax val="0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  <dgm:forEach name="Name10" axis="followSib" ptType="sibTrans" cnt="1">
            <dgm:layoutNode name="sibTrans" styleLbl="sibTrans2D1">
              <dgm:alg type="conn">
                <dgm:param type="begPts" val="auto"/>
                <dgm:param type="endPts" val="auto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w" refType="h"/>
                <dgm:constr type="connDist"/>
                <dgm:constr type="wArH" refType="h" fact="0.25"/>
                <dgm:constr type="hArH" refType="wArH" fact="2"/>
                <dgm:constr type="stemThick" refType="hArH" fact="0.667"/>
                <dgm:constr type="begPad" refType="w" fact="0.25"/>
                <dgm:constr type="endPad" refType="w" fact="0.25"/>
              </dgm:constrLst>
              <dgm:ruleLst/>
            </dgm:layoutNode>
          </dgm:forEach>
        </dgm:forEach>
      </dgm:layoutNode>
      <dgm:choose name="Name11">
        <dgm:if name="Name12" axis="self" ptType="node" func="revPos" op="gte" val="2">
          <dgm:layoutNode name="h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3"/>
      </dgm:choose>
    </dgm:forEach>
  </dgm:layoutNode>
</dgm:layoutDef>
</file>

<file path=ppt/diagrams/layout4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43.xml><?xml version="1.0" encoding="utf-8"?>
<dgm:layoutDef xmlns:dgm="http://schemas.openxmlformats.org/drawingml/2006/diagram" xmlns:a="http://schemas.openxmlformats.org/drawingml/2006/main" uniqueId="urn:microsoft.com/office/officeart/2005/8/layout/lProcess1">
  <dgm:title val=""/>
  <dgm:desc val=""/>
  <dgm:catLst>
    <dgm:cat type="process" pri="1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1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2"/>
      </dgm:ptLst>
      <dgm:cxnLst>
        <dgm:cxn modelId="3" srcId="0" destId="1" srcOrd="0" destOrd="0"/>
        <dgm:cxn modelId="4" srcId="0" destId="2" srcOrd="0" destOrd="0"/>
        <dgm:cxn modelId="5" srcId="1" destId="11" srcOrd="0" destOrd="0"/>
        <dgm:cxn modelId="6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R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header" refType="h"/>
      <dgm:constr type="w" for="des" forName="header" refType="h" refFor="des" refForName="header" op="equ" fact="4"/>
      <dgm:constr type="h" for="des" forName="child" refType="h" refFor="des" refForName="header" op="equ"/>
      <dgm:constr type="w" for="des" forName="child" refType="w" refFor="des" refForName="header" op="equ"/>
      <dgm:constr type="w" for="ch" forName="hSp" refType="w" refFor="des" refForName="header" op="equ" fact="0.14"/>
      <dgm:constr type="h" for="des" forName="parTrans" refType="h" refFor="des" refForName="header" op="equ" fact="0.35"/>
      <dgm:constr type="h" for="des" forName="sibTrans" refType="h" refFor="des" refForName="parTrans" op="equ"/>
      <dgm:constr type="primFontSz" for="des" forName="child" op="equ" val="65"/>
      <dgm:constr type="primFontSz" for="des" forName="header" op="equ" val="65"/>
    </dgm:constrLst>
    <dgm:ruleLst/>
    <dgm:forEach name="Name4" axis="ch" ptType="node">
      <dgm:layoutNode name="vertFlow">
        <dgm:choose name="Name5">
          <dgm:if name="Name6" func="var" arg="dir" op="equ" val="norm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if>
          <dgm:else name="Name7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header" styleLbl="node1"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8" axis="ch" ptType="parTrans" cnt="1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w" refType="h"/>
              <dgm:constr type="connDist"/>
              <dgm:constr type="wArH" refType="h" fact="0.25"/>
              <dgm:constr type="hArH" refType="wArH" fact="2"/>
              <dgm:constr type="stemThick" refType="hArH" fact="0.667"/>
              <dgm:constr type="begPad" refType="connDist" fact="0.25"/>
              <dgm:constr type="endPad" refType="connDist" fact="0.25"/>
            </dgm:constrLst>
            <dgm:ruleLst/>
          </dgm:layoutNode>
        </dgm:forEach>
        <dgm:forEach name="Name9" axis="ch" ptType="node">
          <dgm:layoutNode name="child" styleLbl="alignAccFollowNode1">
            <dgm:varLst>
              <dgm:chMax val="0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  <dgm:forEach name="Name10" axis="followSib" ptType="sibTrans" cnt="1">
            <dgm:layoutNode name="sibTrans" styleLbl="sibTrans2D1">
              <dgm:alg type="conn">
                <dgm:param type="begPts" val="auto"/>
                <dgm:param type="endPts" val="auto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w" refType="h"/>
                <dgm:constr type="connDist"/>
                <dgm:constr type="wArH" refType="h" fact="0.25"/>
                <dgm:constr type="hArH" refType="wArH" fact="2"/>
                <dgm:constr type="stemThick" refType="hArH" fact="0.667"/>
                <dgm:constr type="begPad" refType="w" fact="0.25"/>
                <dgm:constr type="endPad" refType="w" fact="0.25"/>
              </dgm:constrLst>
              <dgm:ruleLst/>
            </dgm:layoutNode>
          </dgm:forEach>
        </dgm:forEach>
      </dgm:layoutNode>
      <dgm:choose name="Name11">
        <dgm:if name="Name12" axis="self" ptType="node" func="revPos" op="gte" val="2">
          <dgm:layoutNode name="h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3"/>
      </dgm:choose>
    </dgm:forEach>
  </dgm:layoutNode>
</dgm:layoutDef>
</file>

<file path=ppt/diagrams/layout44.xml><?xml version="1.0" encoding="utf-8"?>
<dgm:layoutDef xmlns:dgm="http://schemas.openxmlformats.org/drawingml/2006/diagram" xmlns:a="http://schemas.openxmlformats.org/drawingml/2006/main" uniqueId="urn:microsoft.com/office/officeart/2005/8/layout/lProcess1">
  <dgm:title val=""/>
  <dgm:desc val=""/>
  <dgm:catLst>
    <dgm:cat type="process" pri="1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1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2"/>
      </dgm:ptLst>
      <dgm:cxnLst>
        <dgm:cxn modelId="3" srcId="0" destId="1" srcOrd="0" destOrd="0"/>
        <dgm:cxn modelId="4" srcId="0" destId="2" srcOrd="0" destOrd="0"/>
        <dgm:cxn modelId="5" srcId="1" destId="11" srcOrd="0" destOrd="0"/>
        <dgm:cxn modelId="6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R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header" refType="h"/>
      <dgm:constr type="w" for="des" forName="header" refType="h" refFor="des" refForName="header" op="equ" fact="4"/>
      <dgm:constr type="h" for="des" forName="child" refType="h" refFor="des" refForName="header" op="equ"/>
      <dgm:constr type="w" for="des" forName="child" refType="w" refFor="des" refForName="header" op="equ"/>
      <dgm:constr type="w" for="ch" forName="hSp" refType="w" refFor="des" refForName="header" op="equ" fact="0.14"/>
      <dgm:constr type="h" for="des" forName="parTrans" refType="h" refFor="des" refForName="header" op="equ" fact="0.35"/>
      <dgm:constr type="h" for="des" forName="sibTrans" refType="h" refFor="des" refForName="parTrans" op="equ"/>
      <dgm:constr type="primFontSz" for="des" forName="child" op="equ" val="65"/>
      <dgm:constr type="primFontSz" for="des" forName="header" op="equ" val="65"/>
    </dgm:constrLst>
    <dgm:ruleLst/>
    <dgm:forEach name="Name4" axis="ch" ptType="node">
      <dgm:layoutNode name="vertFlow">
        <dgm:choose name="Name5">
          <dgm:if name="Name6" func="var" arg="dir" op="equ" val="norm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if>
          <dgm:else name="Name7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header" styleLbl="node1"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8" axis="ch" ptType="parTrans" cnt="1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w" refType="h"/>
              <dgm:constr type="connDist"/>
              <dgm:constr type="wArH" refType="h" fact="0.25"/>
              <dgm:constr type="hArH" refType="wArH" fact="2"/>
              <dgm:constr type="stemThick" refType="hArH" fact="0.667"/>
              <dgm:constr type="begPad" refType="connDist" fact="0.25"/>
              <dgm:constr type="endPad" refType="connDist" fact="0.25"/>
            </dgm:constrLst>
            <dgm:ruleLst/>
          </dgm:layoutNode>
        </dgm:forEach>
        <dgm:forEach name="Name9" axis="ch" ptType="node">
          <dgm:layoutNode name="child" styleLbl="alignAccFollowNode1">
            <dgm:varLst>
              <dgm:chMax val="0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  <dgm:forEach name="Name10" axis="followSib" ptType="sibTrans" cnt="1">
            <dgm:layoutNode name="sibTrans" styleLbl="sibTrans2D1">
              <dgm:alg type="conn">
                <dgm:param type="begPts" val="auto"/>
                <dgm:param type="endPts" val="auto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w" refType="h"/>
                <dgm:constr type="connDist"/>
                <dgm:constr type="wArH" refType="h" fact="0.25"/>
                <dgm:constr type="hArH" refType="wArH" fact="2"/>
                <dgm:constr type="stemThick" refType="hArH" fact="0.667"/>
                <dgm:constr type="begPad" refType="w" fact="0.25"/>
                <dgm:constr type="endPad" refType="w" fact="0.25"/>
              </dgm:constrLst>
              <dgm:ruleLst/>
            </dgm:layoutNode>
          </dgm:forEach>
        </dgm:forEach>
      </dgm:layoutNode>
      <dgm:choose name="Name11">
        <dgm:if name="Name12" axis="self" ptType="node" func="revPos" op="gte" val="2">
          <dgm:layoutNode name="h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3"/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4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5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6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7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8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9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0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4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5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6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7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8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9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0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2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4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>
            <a:extLst>
              <a:ext uri="{FF2B5EF4-FFF2-40B4-BE49-F238E27FC236}">
                <a16:creationId xmlns:a16="http://schemas.microsoft.com/office/drawing/2014/main" id="{73B541EE-1936-4771-A53C-15BCE4C39C2D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13315" name="Rectangle 3">
            <a:extLst>
              <a:ext uri="{FF2B5EF4-FFF2-40B4-BE49-F238E27FC236}">
                <a16:creationId xmlns:a16="http://schemas.microsoft.com/office/drawing/2014/main" id="{E32C3A54-B173-4672-AA4D-51C22F399FFE}"/>
              </a:ext>
            </a:extLst>
          </p:cNvPr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13316" name="Rectangle 4">
            <a:extLst>
              <a:ext uri="{FF2B5EF4-FFF2-40B4-BE49-F238E27FC236}">
                <a16:creationId xmlns:a16="http://schemas.microsoft.com/office/drawing/2014/main" id="{F2A28887-CF7C-443B-B6D9-DA3A6B23C57B}"/>
              </a:ext>
            </a:extLst>
          </p:cNvPr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13317" name="Rectangle 5">
            <a:extLst>
              <a:ext uri="{FF2B5EF4-FFF2-40B4-BE49-F238E27FC236}">
                <a16:creationId xmlns:a16="http://schemas.microsoft.com/office/drawing/2014/main" id="{835CC387-02AC-491E-84F1-2C75AB7C67D8}"/>
              </a:ext>
            </a:extLst>
          </p:cNvPr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A1B92DAB-EC69-4EBD-9884-91DBF5802677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>
            <a:extLst>
              <a:ext uri="{FF2B5EF4-FFF2-40B4-BE49-F238E27FC236}">
                <a16:creationId xmlns:a16="http://schemas.microsoft.com/office/drawing/2014/main" id="{076DD4F7-E86D-4320-9A71-C9327EBAB255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171" name="Rectangle 3">
            <a:extLst>
              <a:ext uri="{FF2B5EF4-FFF2-40B4-BE49-F238E27FC236}">
                <a16:creationId xmlns:a16="http://schemas.microsoft.com/office/drawing/2014/main" id="{8C84522B-9BD2-4BD0-B48E-70F02BF4D67E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9220" name="Rectangle 4">
            <a:extLst>
              <a:ext uri="{FF2B5EF4-FFF2-40B4-BE49-F238E27FC236}">
                <a16:creationId xmlns:a16="http://schemas.microsoft.com/office/drawing/2014/main" id="{C0BD0E1D-ED22-4BAD-97E1-2BC75C0D01C3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3" name="Rectangle 5">
            <a:extLst>
              <a:ext uri="{FF2B5EF4-FFF2-40B4-BE49-F238E27FC236}">
                <a16:creationId xmlns:a16="http://schemas.microsoft.com/office/drawing/2014/main" id="{96798DE5-1CA5-4C65-83C7-1016657635F9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343400"/>
            <a:ext cx="50292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noProof="0"/>
              <a:t>Clique para editar os estilos do texto mestre</a:t>
            </a:r>
          </a:p>
          <a:p>
            <a:pPr lvl="1"/>
            <a:r>
              <a:rPr lang="pt-BR" noProof="0"/>
              <a:t>Segundo nível</a:t>
            </a:r>
          </a:p>
          <a:p>
            <a:pPr lvl="2"/>
            <a:r>
              <a:rPr lang="pt-BR" noProof="0"/>
              <a:t>Terceiro nível</a:t>
            </a:r>
          </a:p>
          <a:p>
            <a:pPr lvl="3"/>
            <a:r>
              <a:rPr lang="pt-BR" noProof="0"/>
              <a:t>Quarto nível</a:t>
            </a:r>
          </a:p>
          <a:p>
            <a:pPr lvl="4"/>
            <a:r>
              <a:rPr lang="pt-BR" noProof="0"/>
              <a:t>Quinto nível</a:t>
            </a:r>
          </a:p>
        </p:txBody>
      </p:sp>
      <p:sp>
        <p:nvSpPr>
          <p:cNvPr id="7174" name="Rectangle 6">
            <a:extLst>
              <a:ext uri="{FF2B5EF4-FFF2-40B4-BE49-F238E27FC236}">
                <a16:creationId xmlns:a16="http://schemas.microsoft.com/office/drawing/2014/main" id="{B20E8BDA-FC50-44FC-A63E-AEB97480454C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175" name="Rectangle 7">
            <a:extLst>
              <a:ext uri="{FF2B5EF4-FFF2-40B4-BE49-F238E27FC236}">
                <a16:creationId xmlns:a16="http://schemas.microsoft.com/office/drawing/2014/main" id="{5F16E6BC-209E-4680-BBF6-25D9952F5776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222C56E7-29FD-4953-9366-2227B4708C26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Espaço Reservado para Imagem de Slide 1">
            <a:extLst>
              <a:ext uri="{FF2B5EF4-FFF2-40B4-BE49-F238E27FC236}">
                <a16:creationId xmlns:a16="http://schemas.microsoft.com/office/drawing/2014/main" id="{D756E454-E8A4-404A-839E-91CC604B9366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315" name="Espaço Reservado para Anotações 2">
            <a:extLst>
              <a:ext uri="{FF2B5EF4-FFF2-40B4-BE49-F238E27FC236}">
                <a16:creationId xmlns:a16="http://schemas.microsoft.com/office/drawing/2014/main" id="{4C720BB5-CA95-4755-B161-3121C1537C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pt-BR"/>
          </a:p>
        </p:txBody>
      </p:sp>
      <p:sp>
        <p:nvSpPr>
          <p:cNvPr id="13316" name="Espaço Reservado para Número de Slide 3">
            <a:extLst>
              <a:ext uri="{FF2B5EF4-FFF2-40B4-BE49-F238E27FC236}">
                <a16:creationId xmlns:a16="http://schemas.microsoft.com/office/drawing/2014/main" id="{7DD7EB11-31DC-4B93-BCBC-93E3A8B980E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</a:pPr>
            <a:fld id="{31B098BE-0D61-443A-851D-AB1897FD07D4}" type="slidenum">
              <a:rPr lang="pt-BR" altLang="pt-BR" smtClean="0"/>
              <a:pPr>
                <a:spcBef>
                  <a:spcPct val="0"/>
                </a:spcBef>
              </a:pPr>
              <a:t>2</a:t>
            </a:fld>
            <a:endParaRPr lang="pt-BR" altLang="pt-BR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Espaço Reservado para Imagem de Slide 1">
            <a:extLst>
              <a:ext uri="{FF2B5EF4-FFF2-40B4-BE49-F238E27FC236}">
                <a16:creationId xmlns:a16="http://schemas.microsoft.com/office/drawing/2014/main" id="{7DB285B7-42BD-4931-B129-4FD2B520640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5843" name="Espaço Reservado para Anotações 2">
            <a:extLst>
              <a:ext uri="{FF2B5EF4-FFF2-40B4-BE49-F238E27FC236}">
                <a16:creationId xmlns:a16="http://schemas.microsoft.com/office/drawing/2014/main" id="{8BECA252-5874-44B1-9C66-53C4D393EB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altLang="pt-BR"/>
          </a:p>
        </p:txBody>
      </p:sp>
      <p:sp>
        <p:nvSpPr>
          <p:cNvPr id="35844" name="Espaço Reservado para Número de Slide 3">
            <a:extLst>
              <a:ext uri="{FF2B5EF4-FFF2-40B4-BE49-F238E27FC236}">
                <a16:creationId xmlns:a16="http://schemas.microsoft.com/office/drawing/2014/main" id="{EAA200EF-B072-4702-A045-9984CD0C74C8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</a:pPr>
            <a:fld id="{04C56DF2-8698-4459-A603-F58175C06519}" type="slidenum">
              <a:rPr lang="pt-BR" altLang="pt-BR" smtClean="0"/>
              <a:pPr>
                <a:spcBef>
                  <a:spcPct val="0"/>
                </a:spcBef>
              </a:pPr>
              <a:t>13</a:t>
            </a:fld>
            <a:endParaRPr lang="pt-BR" altLang="pt-BR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Espaço Reservado para Imagem de Slide 1">
            <a:extLst>
              <a:ext uri="{FF2B5EF4-FFF2-40B4-BE49-F238E27FC236}">
                <a16:creationId xmlns:a16="http://schemas.microsoft.com/office/drawing/2014/main" id="{0E6235EE-93DF-49EC-896D-0A2A563FE76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8131" name="Espaço Reservado para Anotações 2">
            <a:extLst>
              <a:ext uri="{FF2B5EF4-FFF2-40B4-BE49-F238E27FC236}">
                <a16:creationId xmlns:a16="http://schemas.microsoft.com/office/drawing/2014/main" id="{B50960F8-76CB-487A-A3B9-A3DA3436D6B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altLang="pt-BR"/>
          </a:p>
        </p:txBody>
      </p:sp>
      <p:sp>
        <p:nvSpPr>
          <p:cNvPr id="48132" name="Espaço Reservado para Número de Slide 3">
            <a:extLst>
              <a:ext uri="{FF2B5EF4-FFF2-40B4-BE49-F238E27FC236}">
                <a16:creationId xmlns:a16="http://schemas.microsoft.com/office/drawing/2014/main" id="{00C28040-DC5F-43CB-849A-7B3466E4791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</a:pPr>
            <a:fld id="{AD9EEBE3-4B91-4E7A-B6F7-2C9A29F8C9A9}" type="slidenum">
              <a:rPr lang="pt-BR" altLang="pt-BR" smtClean="0"/>
              <a:pPr>
                <a:spcBef>
                  <a:spcPct val="0"/>
                </a:spcBef>
              </a:pPr>
              <a:t>14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1694909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Espaço Reservado para Imagem de Slide 1">
            <a:extLst>
              <a:ext uri="{FF2B5EF4-FFF2-40B4-BE49-F238E27FC236}">
                <a16:creationId xmlns:a16="http://schemas.microsoft.com/office/drawing/2014/main" id="{E44ACA6E-2D80-457C-80F7-03053C5C2D6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Espaço Reservado para Anotações 2">
            <a:extLst>
              <a:ext uri="{FF2B5EF4-FFF2-40B4-BE49-F238E27FC236}">
                <a16:creationId xmlns:a16="http://schemas.microsoft.com/office/drawing/2014/main" id="{75E85591-5B91-43D5-941F-B52341E677A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altLang="pt-BR"/>
          </a:p>
        </p:txBody>
      </p:sp>
      <p:sp>
        <p:nvSpPr>
          <p:cNvPr id="37892" name="Espaço Reservado para Número de Slide 3">
            <a:extLst>
              <a:ext uri="{FF2B5EF4-FFF2-40B4-BE49-F238E27FC236}">
                <a16:creationId xmlns:a16="http://schemas.microsoft.com/office/drawing/2014/main" id="{88FA704A-D73C-4ECA-B5A8-FED493D568E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</a:pPr>
            <a:fld id="{591BEA02-C4EA-448D-8116-CD27E53A4892}" type="slidenum">
              <a:rPr lang="pt-BR" altLang="pt-BR" smtClean="0"/>
              <a:pPr>
                <a:spcBef>
                  <a:spcPct val="0"/>
                </a:spcBef>
              </a:pPr>
              <a:t>15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50263575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Espaço Reservado para Imagem de Slide 1">
            <a:extLst>
              <a:ext uri="{FF2B5EF4-FFF2-40B4-BE49-F238E27FC236}">
                <a16:creationId xmlns:a16="http://schemas.microsoft.com/office/drawing/2014/main" id="{0E6235EE-93DF-49EC-896D-0A2A563FE76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8131" name="Espaço Reservado para Anotações 2">
            <a:extLst>
              <a:ext uri="{FF2B5EF4-FFF2-40B4-BE49-F238E27FC236}">
                <a16:creationId xmlns:a16="http://schemas.microsoft.com/office/drawing/2014/main" id="{B50960F8-76CB-487A-A3B9-A3DA3436D6B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altLang="pt-BR"/>
          </a:p>
        </p:txBody>
      </p:sp>
      <p:sp>
        <p:nvSpPr>
          <p:cNvPr id="48132" name="Espaço Reservado para Número de Slide 3">
            <a:extLst>
              <a:ext uri="{FF2B5EF4-FFF2-40B4-BE49-F238E27FC236}">
                <a16:creationId xmlns:a16="http://schemas.microsoft.com/office/drawing/2014/main" id="{00C28040-DC5F-43CB-849A-7B3466E4791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</a:pPr>
            <a:fld id="{AD9EEBE3-4B91-4E7A-B6F7-2C9A29F8C9A9}" type="slidenum">
              <a:rPr lang="pt-BR" altLang="pt-BR" smtClean="0"/>
              <a:pPr>
                <a:spcBef>
                  <a:spcPct val="0"/>
                </a:spcBef>
              </a:pPr>
              <a:t>16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564074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Espaço Reservado para Imagem de Slide 1">
            <a:extLst>
              <a:ext uri="{FF2B5EF4-FFF2-40B4-BE49-F238E27FC236}">
                <a16:creationId xmlns:a16="http://schemas.microsoft.com/office/drawing/2014/main" id="{E44ACA6E-2D80-457C-80F7-03053C5C2D6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Espaço Reservado para Anotações 2">
            <a:extLst>
              <a:ext uri="{FF2B5EF4-FFF2-40B4-BE49-F238E27FC236}">
                <a16:creationId xmlns:a16="http://schemas.microsoft.com/office/drawing/2014/main" id="{75E85591-5B91-43D5-941F-B52341E677A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altLang="pt-BR"/>
          </a:p>
        </p:txBody>
      </p:sp>
      <p:sp>
        <p:nvSpPr>
          <p:cNvPr id="37892" name="Espaço Reservado para Número de Slide 3">
            <a:extLst>
              <a:ext uri="{FF2B5EF4-FFF2-40B4-BE49-F238E27FC236}">
                <a16:creationId xmlns:a16="http://schemas.microsoft.com/office/drawing/2014/main" id="{88FA704A-D73C-4ECA-B5A8-FED493D568E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</a:pPr>
            <a:fld id="{591BEA02-C4EA-448D-8116-CD27E53A4892}" type="slidenum">
              <a:rPr lang="pt-BR" altLang="pt-BR" smtClean="0"/>
              <a:pPr>
                <a:spcBef>
                  <a:spcPct val="0"/>
                </a:spcBef>
              </a:pPr>
              <a:t>17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36232489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Espaço Reservado para Imagem de Slide 1">
            <a:extLst>
              <a:ext uri="{FF2B5EF4-FFF2-40B4-BE49-F238E27FC236}">
                <a16:creationId xmlns:a16="http://schemas.microsoft.com/office/drawing/2014/main" id="{0E6235EE-93DF-49EC-896D-0A2A563FE76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8131" name="Espaço Reservado para Anotações 2">
            <a:extLst>
              <a:ext uri="{FF2B5EF4-FFF2-40B4-BE49-F238E27FC236}">
                <a16:creationId xmlns:a16="http://schemas.microsoft.com/office/drawing/2014/main" id="{B50960F8-76CB-487A-A3B9-A3DA3436D6B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altLang="pt-BR"/>
          </a:p>
        </p:txBody>
      </p:sp>
      <p:sp>
        <p:nvSpPr>
          <p:cNvPr id="48132" name="Espaço Reservado para Número de Slide 3">
            <a:extLst>
              <a:ext uri="{FF2B5EF4-FFF2-40B4-BE49-F238E27FC236}">
                <a16:creationId xmlns:a16="http://schemas.microsoft.com/office/drawing/2014/main" id="{00C28040-DC5F-43CB-849A-7B3466E4791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</a:pPr>
            <a:fld id="{AD9EEBE3-4B91-4E7A-B6F7-2C9A29F8C9A9}" type="slidenum">
              <a:rPr lang="pt-BR" altLang="pt-BR" smtClean="0"/>
              <a:pPr>
                <a:spcBef>
                  <a:spcPct val="0"/>
                </a:spcBef>
              </a:pPr>
              <a:t>18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91021977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Espaço Reservado para Imagem de Slide 1">
            <a:extLst>
              <a:ext uri="{FF2B5EF4-FFF2-40B4-BE49-F238E27FC236}">
                <a16:creationId xmlns:a16="http://schemas.microsoft.com/office/drawing/2014/main" id="{E44ACA6E-2D80-457C-80F7-03053C5C2D6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Espaço Reservado para Anotações 2">
            <a:extLst>
              <a:ext uri="{FF2B5EF4-FFF2-40B4-BE49-F238E27FC236}">
                <a16:creationId xmlns:a16="http://schemas.microsoft.com/office/drawing/2014/main" id="{75E85591-5B91-43D5-941F-B52341E677A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altLang="pt-BR"/>
          </a:p>
        </p:txBody>
      </p:sp>
      <p:sp>
        <p:nvSpPr>
          <p:cNvPr id="37892" name="Espaço Reservado para Número de Slide 3">
            <a:extLst>
              <a:ext uri="{FF2B5EF4-FFF2-40B4-BE49-F238E27FC236}">
                <a16:creationId xmlns:a16="http://schemas.microsoft.com/office/drawing/2014/main" id="{88FA704A-D73C-4ECA-B5A8-FED493D568E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</a:pPr>
            <a:fld id="{591BEA02-C4EA-448D-8116-CD27E53A4892}" type="slidenum">
              <a:rPr lang="pt-BR" altLang="pt-BR" smtClean="0"/>
              <a:pPr>
                <a:spcBef>
                  <a:spcPct val="0"/>
                </a:spcBef>
              </a:pPr>
              <a:t>19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267640367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Espaço Reservado para Imagem de Slide 1">
            <a:extLst>
              <a:ext uri="{FF2B5EF4-FFF2-40B4-BE49-F238E27FC236}">
                <a16:creationId xmlns:a16="http://schemas.microsoft.com/office/drawing/2014/main" id="{0E6235EE-93DF-49EC-896D-0A2A563FE76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8131" name="Espaço Reservado para Anotações 2">
            <a:extLst>
              <a:ext uri="{FF2B5EF4-FFF2-40B4-BE49-F238E27FC236}">
                <a16:creationId xmlns:a16="http://schemas.microsoft.com/office/drawing/2014/main" id="{B50960F8-76CB-487A-A3B9-A3DA3436D6B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altLang="pt-BR"/>
          </a:p>
        </p:txBody>
      </p:sp>
      <p:sp>
        <p:nvSpPr>
          <p:cNvPr id="48132" name="Espaço Reservado para Número de Slide 3">
            <a:extLst>
              <a:ext uri="{FF2B5EF4-FFF2-40B4-BE49-F238E27FC236}">
                <a16:creationId xmlns:a16="http://schemas.microsoft.com/office/drawing/2014/main" id="{00C28040-DC5F-43CB-849A-7B3466E4791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</a:pPr>
            <a:fld id="{AD9EEBE3-4B91-4E7A-B6F7-2C9A29F8C9A9}" type="slidenum">
              <a:rPr lang="pt-BR" altLang="pt-BR" smtClean="0"/>
              <a:pPr>
                <a:spcBef>
                  <a:spcPct val="0"/>
                </a:spcBef>
              </a:pPr>
              <a:t>20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279069142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Espaço Reservado para Imagem de Slide 1">
            <a:extLst>
              <a:ext uri="{FF2B5EF4-FFF2-40B4-BE49-F238E27FC236}">
                <a16:creationId xmlns:a16="http://schemas.microsoft.com/office/drawing/2014/main" id="{7B00079E-B4D0-40B4-B374-E94573B1C9D2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5" name="Espaço Reservado para Anotações 2">
            <a:extLst>
              <a:ext uri="{FF2B5EF4-FFF2-40B4-BE49-F238E27FC236}">
                <a16:creationId xmlns:a16="http://schemas.microsoft.com/office/drawing/2014/main" id="{BC1DBC73-04CE-4257-B220-AB5DEB3D7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altLang="pt-BR"/>
          </a:p>
        </p:txBody>
      </p:sp>
      <p:sp>
        <p:nvSpPr>
          <p:cNvPr id="44036" name="Espaço Reservado para Número de Slide 3">
            <a:extLst>
              <a:ext uri="{FF2B5EF4-FFF2-40B4-BE49-F238E27FC236}">
                <a16:creationId xmlns:a16="http://schemas.microsoft.com/office/drawing/2014/main" id="{FB219C64-5AE1-4EC9-B6BE-87DCE3F6487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</a:pPr>
            <a:fld id="{2433F047-07D8-430B-A997-332E680BEE49}" type="slidenum">
              <a:rPr lang="pt-BR" altLang="pt-BR" smtClean="0"/>
              <a:pPr>
                <a:spcBef>
                  <a:spcPct val="0"/>
                </a:spcBef>
              </a:pPr>
              <a:t>21</a:t>
            </a:fld>
            <a:endParaRPr lang="pt-BR" altLang="pt-BR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Espaço Reservado para Imagem de Slide 1">
            <a:extLst>
              <a:ext uri="{FF2B5EF4-FFF2-40B4-BE49-F238E27FC236}">
                <a16:creationId xmlns:a16="http://schemas.microsoft.com/office/drawing/2014/main" id="{9E72D6C6-93D4-4813-AC1F-B46EF750F8D6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6083" name="Espaço Reservado para Anotações 2">
            <a:extLst>
              <a:ext uri="{FF2B5EF4-FFF2-40B4-BE49-F238E27FC236}">
                <a16:creationId xmlns:a16="http://schemas.microsoft.com/office/drawing/2014/main" id="{64DC698E-6AA2-4030-9F4C-17856CCF69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altLang="pt-BR"/>
          </a:p>
        </p:txBody>
      </p:sp>
      <p:sp>
        <p:nvSpPr>
          <p:cNvPr id="46084" name="Espaço Reservado para Número de Slide 3">
            <a:extLst>
              <a:ext uri="{FF2B5EF4-FFF2-40B4-BE49-F238E27FC236}">
                <a16:creationId xmlns:a16="http://schemas.microsoft.com/office/drawing/2014/main" id="{1813FC04-D841-4ECE-AE4E-FC9D824D951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</a:pPr>
            <a:fld id="{0D1DCDEC-5162-4E6C-B204-F32914B4646B}" type="slidenum">
              <a:rPr lang="pt-BR" altLang="pt-BR" smtClean="0"/>
              <a:pPr>
                <a:spcBef>
                  <a:spcPct val="0"/>
                </a:spcBef>
              </a:pPr>
              <a:t>22</a:t>
            </a:fld>
            <a:endParaRPr lang="pt-BR" altLang="pt-BR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Espaço Reservado para Imagem de Slide 1">
            <a:extLst>
              <a:ext uri="{FF2B5EF4-FFF2-40B4-BE49-F238E27FC236}">
                <a16:creationId xmlns:a16="http://schemas.microsoft.com/office/drawing/2014/main" id="{95AE4DF8-A0D4-44C1-A1DB-BEE55C6ACFEC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435" name="Espaço Reservado para Anotações 2">
            <a:extLst>
              <a:ext uri="{FF2B5EF4-FFF2-40B4-BE49-F238E27FC236}">
                <a16:creationId xmlns:a16="http://schemas.microsoft.com/office/drawing/2014/main" id="{A410C62B-B42A-46EF-A7A8-EE6161F496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altLang="pt-BR"/>
          </a:p>
        </p:txBody>
      </p:sp>
      <p:sp>
        <p:nvSpPr>
          <p:cNvPr id="18436" name="Espaço Reservado para Número de Slide 3">
            <a:extLst>
              <a:ext uri="{FF2B5EF4-FFF2-40B4-BE49-F238E27FC236}">
                <a16:creationId xmlns:a16="http://schemas.microsoft.com/office/drawing/2014/main" id="{62AC4CB7-40A8-4828-BDDF-B0894DCFA59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</a:pPr>
            <a:fld id="{D438A17E-C5E2-4522-A763-1296390723CD}" type="slidenum">
              <a:rPr lang="pt-BR" altLang="pt-BR" smtClean="0"/>
              <a:pPr>
                <a:spcBef>
                  <a:spcPct val="0"/>
                </a:spcBef>
              </a:pPr>
              <a:t>4</a:t>
            </a:fld>
            <a:endParaRPr lang="pt-BR" altLang="pt-BR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Espaço Reservado para Imagem de Slide 1">
            <a:extLst>
              <a:ext uri="{FF2B5EF4-FFF2-40B4-BE49-F238E27FC236}">
                <a16:creationId xmlns:a16="http://schemas.microsoft.com/office/drawing/2014/main" id="{C9B0C4F1-9E19-4936-B61C-4FDB717295E6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2531" name="Espaço Reservado para Anotações 2">
            <a:extLst>
              <a:ext uri="{FF2B5EF4-FFF2-40B4-BE49-F238E27FC236}">
                <a16:creationId xmlns:a16="http://schemas.microsoft.com/office/drawing/2014/main" id="{B828E1F1-05C1-46A8-B5D7-F3F1A62D0A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pt-BR"/>
          </a:p>
        </p:txBody>
      </p:sp>
      <p:sp>
        <p:nvSpPr>
          <p:cNvPr id="22532" name="Espaço Reservado para Número de Slide 3">
            <a:extLst>
              <a:ext uri="{FF2B5EF4-FFF2-40B4-BE49-F238E27FC236}">
                <a16:creationId xmlns:a16="http://schemas.microsoft.com/office/drawing/2014/main" id="{2DAB55A0-BE4B-4164-9BBA-265A2C43567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</a:pPr>
            <a:fld id="{5A12DFCA-5FE4-4F9C-AB7F-A3299A29EA32}" type="slidenum">
              <a:rPr lang="pt-BR" altLang="pt-BR" smtClean="0"/>
              <a:pPr>
                <a:spcBef>
                  <a:spcPct val="0"/>
                </a:spcBef>
              </a:pPr>
              <a:t>6</a:t>
            </a:fld>
            <a:endParaRPr lang="pt-BR" altLang="pt-BR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Espaço Reservado para Imagem de Slide 1">
            <a:extLst>
              <a:ext uri="{FF2B5EF4-FFF2-40B4-BE49-F238E27FC236}">
                <a16:creationId xmlns:a16="http://schemas.microsoft.com/office/drawing/2014/main" id="{CDC26881-DD3E-4352-BB50-808D98482AA3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4579" name="Espaço Reservado para Anotações 2">
            <a:extLst>
              <a:ext uri="{FF2B5EF4-FFF2-40B4-BE49-F238E27FC236}">
                <a16:creationId xmlns:a16="http://schemas.microsoft.com/office/drawing/2014/main" id="{601E7278-051B-4F71-A4C4-479ADC25B7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altLang="pt-BR"/>
          </a:p>
        </p:txBody>
      </p:sp>
      <p:sp>
        <p:nvSpPr>
          <p:cNvPr id="24580" name="Espaço Reservado para Número de Slide 3">
            <a:extLst>
              <a:ext uri="{FF2B5EF4-FFF2-40B4-BE49-F238E27FC236}">
                <a16:creationId xmlns:a16="http://schemas.microsoft.com/office/drawing/2014/main" id="{02B18B4F-5B48-46FD-B546-DB0B210D5F9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</a:pPr>
            <a:fld id="{56706C0E-3F1A-4279-AD1F-4270649E0F6F}" type="slidenum">
              <a:rPr lang="pt-BR" altLang="pt-BR" smtClean="0"/>
              <a:pPr>
                <a:spcBef>
                  <a:spcPct val="0"/>
                </a:spcBef>
              </a:pPr>
              <a:t>7</a:t>
            </a:fld>
            <a:endParaRPr lang="pt-BR" altLang="pt-BR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Espaço Reservado para Imagem de Slide 1">
            <a:extLst>
              <a:ext uri="{FF2B5EF4-FFF2-40B4-BE49-F238E27FC236}">
                <a16:creationId xmlns:a16="http://schemas.microsoft.com/office/drawing/2014/main" id="{F6C81D74-53D2-4536-8BAD-C869EDE2C9FC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7651" name="Espaço Reservado para Anotações 2">
            <a:extLst>
              <a:ext uri="{FF2B5EF4-FFF2-40B4-BE49-F238E27FC236}">
                <a16:creationId xmlns:a16="http://schemas.microsoft.com/office/drawing/2014/main" id="{C054CE75-15D9-4208-98A6-AFA70E5ADD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altLang="pt-BR"/>
          </a:p>
        </p:txBody>
      </p:sp>
      <p:sp>
        <p:nvSpPr>
          <p:cNvPr id="27652" name="Espaço Reservado para Número de Slide 3">
            <a:extLst>
              <a:ext uri="{FF2B5EF4-FFF2-40B4-BE49-F238E27FC236}">
                <a16:creationId xmlns:a16="http://schemas.microsoft.com/office/drawing/2014/main" id="{7375CBF3-2D4F-4628-88D4-E665A2656C1F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</a:pPr>
            <a:fld id="{D32F2F55-5BB6-4B02-96A6-1A178DC32039}" type="slidenum">
              <a:rPr lang="pt-BR" altLang="pt-BR" smtClean="0"/>
              <a:pPr>
                <a:spcBef>
                  <a:spcPct val="0"/>
                </a:spcBef>
              </a:pPr>
              <a:t>8</a:t>
            </a:fld>
            <a:endParaRPr lang="pt-BR" altLang="pt-BR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Espaço Reservado para Imagem de Slide 1">
            <a:extLst>
              <a:ext uri="{FF2B5EF4-FFF2-40B4-BE49-F238E27FC236}">
                <a16:creationId xmlns:a16="http://schemas.microsoft.com/office/drawing/2014/main" id="{F3B4EC12-B2F3-41CB-85CE-09186C39B57E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9699" name="Espaço Reservado para Anotações 2">
            <a:extLst>
              <a:ext uri="{FF2B5EF4-FFF2-40B4-BE49-F238E27FC236}">
                <a16:creationId xmlns:a16="http://schemas.microsoft.com/office/drawing/2014/main" id="{C6D05399-73F3-4110-9444-82F81FC61D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altLang="pt-BR"/>
          </a:p>
        </p:txBody>
      </p:sp>
      <p:sp>
        <p:nvSpPr>
          <p:cNvPr id="29700" name="Espaço Reservado para Número de Slide 3">
            <a:extLst>
              <a:ext uri="{FF2B5EF4-FFF2-40B4-BE49-F238E27FC236}">
                <a16:creationId xmlns:a16="http://schemas.microsoft.com/office/drawing/2014/main" id="{B7FBDA52-8411-4D2E-84DF-7C7AAEE411A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</a:pPr>
            <a:fld id="{67C821F6-BC82-43E6-B27A-DAD9E97D9D8A}" type="slidenum">
              <a:rPr lang="pt-BR" altLang="pt-BR" smtClean="0"/>
              <a:pPr>
                <a:spcBef>
                  <a:spcPct val="0"/>
                </a:spcBef>
              </a:pPr>
              <a:t>9</a:t>
            </a:fld>
            <a:endParaRPr lang="pt-BR" altLang="pt-BR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Espaço Reservado para Imagem de Slide 1">
            <a:extLst>
              <a:ext uri="{FF2B5EF4-FFF2-40B4-BE49-F238E27FC236}">
                <a16:creationId xmlns:a16="http://schemas.microsoft.com/office/drawing/2014/main" id="{04D0F4E0-E1AC-4A23-A34B-8EB210F62FF6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747" name="Espaço Reservado para Anotações 2">
            <a:extLst>
              <a:ext uri="{FF2B5EF4-FFF2-40B4-BE49-F238E27FC236}">
                <a16:creationId xmlns:a16="http://schemas.microsoft.com/office/drawing/2014/main" id="{A3A19DCB-8679-42C9-8D45-4F5E0442EE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altLang="pt-BR"/>
          </a:p>
        </p:txBody>
      </p:sp>
      <p:sp>
        <p:nvSpPr>
          <p:cNvPr id="31748" name="Espaço Reservado para Número de Slide 3">
            <a:extLst>
              <a:ext uri="{FF2B5EF4-FFF2-40B4-BE49-F238E27FC236}">
                <a16:creationId xmlns:a16="http://schemas.microsoft.com/office/drawing/2014/main" id="{D0D12DF8-C459-4759-A0F2-B0F2F05F8DD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</a:pPr>
            <a:fld id="{2B2CA25B-C9E0-431D-B3C4-5A97A84005EC}" type="slidenum">
              <a:rPr lang="pt-BR" altLang="pt-BR" smtClean="0"/>
              <a:pPr>
                <a:spcBef>
                  <a:spcPct val="0"/>
                </a:spcBef>
              </a:pPr>
              <a:t>10</a:t>
            </a:fld>
            <a:endParaRPr lang="pt-BR" altLang="pt-BR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Espaço Reservado para Imagem de Slide 1">
            <a:extLst>
              <a:ext uri="{FF2B5EF4-FFF2-40B4-BE49-F238E27FC236}">
                <a16:creationId xmlns:a16="http://schemas.microsoft.com/office/drawing/2014/main" id="{34ABD8B4-D843-4FE2-A056-6D8971D96A63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3795" name="Espaço Reservado para Anotações 2">
            <a:extLst>
              <a:ext uri="{FF2B5EF4-FFF2-40B4-BE49-F238E27FC236}">
                <a16:creationId xmlns:a16="http://schemas.microsoft.com/office/drawing/2014/main" id="{84EEA451-D2B1-4B83-A1D3-17F74A133E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altLang="pt-BR"/>
          </a:p>
        </p:txBody>
      </p:sp>
      <p:sp>
        <p:nvSpPr>
          <p:cNvPr id="33796" name="Espaço Reservado para Número de Slide 3">
            <a:extLst>
              <a:ext uri="{FF2B5EF4-FFF2-40B4-BE49-F238E27FC236}">
                <a16:creationId xmlns:a16="http://schemas.microsoft.com/office/drawing/2014/main" id="{9C87BC46-8559-48CC-A91C-4F0167E9142B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</a:pPr>
            <a:fld id="{3D979BB0-4C54-49F4-84BA-B61EF3A3E4BF}" type="slidenum">
              <a:rPr lang="pt-BR" altLang="pt-BR" smtClean="0"/>
              <a:pPr>
                <a:spcBef>
                  <a:spcPct val="0"/>
                </a:spcBef>
              </a:pPr>
              <a:t>11</a:t>
            </a:fld>
            <a:endParaRPr lang="pt-BR" altLang="pt-BR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Espaço Reservado para Imagem de Slide 1">
            <a:extLst>
              <a:ext uri="{FF2B5EF4-FFF2-40B4-BE49-F238E27FC236}">
                <a16:creationId xmlns:a16="http://schemas.microsoft.com/office/drawing/2014/main" id="{0E6235EE-93DF-49EC-896D-0A2A563FE76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8131" name="Espaço Reservado para Anotações 2">
            <a:extLst>
              <a:ext uri="{FF2B5EF4-FFF2-40B4-BE49-F238E27FC236}">
                <a16:creationId xmlns:a16="http://schemas.microsoft.com/office/drawing/2014/main" id="{B50960F8-76CB-487A-A3B9-A3DA3436D6B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altLang="pt-BR"/>
          </a:p>
        </p:txBody>
      </p:sp>
      <p:sp>
        <p:nvSpPr>
          <p:cNvPr id="48132" name="Espaço Reservado para Número de Slide 3">
            <a:extLst>
              <a:ext uri="{FF2B5EF4-FFF2-40B4-BE49-F238E27FC236}">
                <a16:creationId xmlns:a16="http://schemas.microsoft.com/office/drawing/2014/main" id="{00C28040-DC5F-43CB-849A-7B3466E4791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</a:pPr>
            <a:fld id="{AD9EEBE3-4B91-4E7A-B6F7-2C9A29F8C9A9}" type="slidenum">
              <a:rPr lang="pt-BR" altLang="pt-BR" smtClean="0"/>
              <a:pPr>
                <a:spcBef>
                  <a:spcPct val="0"/>
                </a:spcBef>
              </a:pPr>
              <a:t>12</a:t>
            </a:fld>
            <a:endParaRPr lang="pt-BR" altLang="pt-BR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/>
              <a:t>Clique para editar o estilo do título mestr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BC9E4C3-4C6B-40A0-847B-7EDA4C56E03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69C059E6-AF1A-4F94-AE7D-BBDB15519B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B4A8ED-F46F-424F-A2A6-9788AF1D6F9E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663873661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estilo do título mes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004E90"/>
                </a:solidFill>
              </a:defRPr>
            </a:lvl1pPr>
            <a:lvl2pPr>
              <a:defRPr>
                <a:solidFill>
                  <a:srgbClr val="004E90"/>
                </a:solidFill>
              </a:defRPr>
            </a:lvl2pPr>
            <a:lvl3pPr>
              <a:defRPr>
                <a:solidFill>
                  <a:srgbClr val="004E90"/>
                </a:solidFill>
              </a:defRPr>
            </a:lvl3pPr>
            <a:lvl4pPr>
              <a:defRPr>
                <a:solidFill>
                  <a:srgbClr val="0093D2"/>
                </a:solidFill>
              </a:defRPr>
            </a:lvl4pPr>
            <a:lvl5pPr>
              <a:defRPr>
                <a:solidFill>
                  <a:srgbClr val="0093D2"/>
                </a:solidFill>
              </a:defRPr>
            </a:lvl5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253997F6-FC32-4672-95C6-20E11629CA0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972158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/>
              <a:t>Clique para editar o estilo do título mes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837C0A3-2E01-429C-846E-BBA2431471E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620E2D92-2701-4796-A40B-0DF0B280DA6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4A70B0-45AE-43CD-B256-DD1073C61203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274460855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estilo do título mes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27BDF4-2595-4350-9810-965EFD91605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A3FCC6-3A49-4F03-BC51-63F4DC2A87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740236-358A-4608-AD5C-0F3028136B74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23151068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estilo do título mes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6AE14A6-633B-43BE-A2F8-0E6B22C725E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7461154-B52B-4B4D-979C-72EF8C02DB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C4519D-A626-4527-89E9-F2310B4F4DC8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599878429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estilo do título mestre</a:t>
            </a:r>
            <a:endParaRPr lang="en-US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4830F3B0-1DAD-4D58-BA7F-399791ECBE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C1A4E9-7E12-4415-ACA8-01AC884DD217}" type="datetimeFigureOut">
              <a:rPr lang="pt-BR"/>
              <a:pPr>
                <a:defRPr/>
              </a:pPr>
              <a:t>20/09/2018</a:t>
            </a:fld>
            <a:endParaRPr lang="pt-BR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DB782F78-0B3C-41E4-8123-3722E8C826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DBEA806F-8854-4AEC-A39E-494366963D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627192-87A8-41C6-8956-54DA5ADB9E03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1932370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D7BB108C-FA78-4D42-8EB5-4DE07172225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45AD4A86-BEEC-4E3C-9080-290241EAA1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584434-7572-4802-BF5D-7E7F2AC49B39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0495900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68934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0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E9435914-E9E9-4227-A29B-626DCDABDEA1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2605088" y="195263"/>
            <a:ext cx="6119812" cy="93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/>
              <a:t>Clique para editar o estilo do título mestre</a:t>
            </a:r>
            <a:endParaRPr lang="en-US" altLang="pt-BR"/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75D9D8AB-A394-4E6D-AD74-417DCCC64726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457200" y="1320800"/>
            <a:ext cx="8280400" cy="4805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/>
              <a:t>Clique para editar os estilos do texto mestre</a:t>
            </a:r>
          </a:p>
          <a:p>
            <a:pPr lvl="1"/>
            <a:r>
              <a:rPr lang="pt-BR" altLang="pt-BR"/>
              <a:t>Segundo nível</a:t>
            </a:r>
          </a:p>
          <a:p>
            <a:pPr lvl="2"/>
            <a:r>
              <a:rPr lang="pt-BR" altLang="pt-BR"/>
              <a:t>Terceiro nível</a:t>
            </a:r>
          </a:p>
          <a:p>
            <a:pPr lvl="3"/>
            <a:r>
              <a:rPr lang="pt-BR" altLang="pt-BR"/>
              <a:t>Quarto nível</a:t>
            </a:r>
          </a:p>
          <a:p>
            <a:pPr lvl="4"/>
            <a:r>
              <a:rPr lang="pt-BR" altLang="pt-BR"/>
              <a:t>Quinto nível</a:t>
            </a:r>
            <a:endParaRPr lang="en-US" altLang="pt-B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BB63E5-9263-46C4-8021-DB2F72A5DCD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7200" y="647223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78C6FA03-E2B7-4C1D-BF27-D72DCCD820DE}" type="datetimeFigureOut">
              <a:rPr lang="pt-BR"/>
              <a:pPr>
                <a:defRPr/>
              </a:pPr>
              <a:t>20/09/2018</a:t>
            </a:fld>
            <a:endParaRPr lang="pt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982E0C-8F37-43FF-9241-5A3B32F6C3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24200" y="6472238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F800C9-99F5-40D4-99D7-475F746759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553200" y="6472238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1724676A-F60C-4D3F-9AF3-A798D87A03D3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07" r:id="rId1"/>
    <p:sldLayoutId id="2147484408" r:id="rId2"/>
    <p:sldLayoutId id="2147484409" r:id="rId3"/>
    <p:sldLayoutId id="2147484410" r:id="rId4"/>
    <p:sldLayoutId id="2147484411" r:id="rId5"/>
    <p:sldLayoutId id="2147484406" r:id="rId6"/>
    <p:sldLayoutId id="2147484412" r:id="rId7"/>
    <p:sldLayoutId id="2147484413" r:id="rId8"/>
  </p:sldLayoutIdLst>
  <p:hf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lang="pt-BR" sz="3200" kern="1200">
          <a:solidFill>
            <a:srgbClr val="004E90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lang="pt-BR" sz="3200" kern="1200">
          <a:solidFill>
            <a:srgbClr val="004E90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lang="pt-BR" sz="3200" kern="1200">
          <a:solidFill>
            <a:srgbClr val="004E90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lang="pt-BR" sz="2000" kern="1200">
          <a:solidFill>
            <a:srgbClr val="0093D2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lang="en-US" sz="2000" kern="1200" dirty="0">
          <a:solidFill>
            <a:srgbClr val="0093D2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0.xml"/><Relationship Id="rId7" Type="http://schemas.microsoft.com/office/2007/relationships/diagramDrawing" Target="../diagrams/drawing20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20.xml"/><Relationship Id="rId5" Type="http://schemas.openxmlformats.org/officeDocument/2006/relationships/diagramQuickStyle" Target="../diagrams/quickStyle20.xml"/><Relationship Id="rId4" Type="http://schemas.openxmlformats.org/officeDocument/2006/relationships/diagramLayout" Target="../diagrams/layout2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1.xml"/><Relationship Id="rId7" Type="http://schemas.microsoft.com/office/2007/relationships/diagramDrawing" Target="../diagrams/drawing2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21.xml"/><Relationship Id="rId5" Type="http://schemas.openxmlformats.org/officeDocument/2006/relationships/diagramQuickStyle" Target="../diagrams/quickStyle21.xml"/><Relationship Id="rId4" Type="http://schemas.openxmlformats.org/officeDocument/2006/relationships/diagramLayout" Target="../diagrams/layout2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3.xml"/><Relationship Id="rId3" Type="http://schemas.openxmlformats.org/officeDocument/2006/relationships/diagramData" Target="../diagrams/data22.xml"/><Relationship Id="rId7" Type="http://schemas.microsoft.com/office/2007/relationships/diagramDrawing" Target="../diagrams/drawing22.xml"/><Relationship Id="rId12" Type="http://schemas.microsoft.com/office/2007/relationships/diagramDrawing" Target="../diagrams/drawing23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22.xml"/><Relationship Id="rId11" Type="http://schemas.openxmlformats.org/officeDocument/2006/relationships/diagramColors" Target="../diagrams/colors23.xml"/><Relationship Id="rId5" Type="http://schemas.openxmlformats.org/officeDocument/2006/relationships/diagramQuickStyle" Target="../diagrams/quickStyle22.xml"/><Relationship Id="rId10" Type="http://schemas.openxmlformats.org/officeDocument/2006/relationships/diagramQuickStyle" Target="../diagrams/quickStyle23.xml"/><Relationship Id="rId4" Type="http://schemas.openxmlformats.org/officeDocument/2006/relationships/diagramLayout" Target="../diagrams/layout22.xml"/><Relationship Id="rId9" Type="http://schemas.openxmlformats.org/officeDocument/2006/relationships/diagramLayout" Target="../diagrams/layout2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4.xml"/><Relationship Id="rId7" Type="http://schemas.microsoft.com/office/2007/relationships/diagramDrawing" Target="../diagrams/drawing24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24.xml"/><Relationship Id="rId5" Type="http://schemas.openxmlformats.org/officeDocument/2006/relationships/diagramQuickStyle" Target="../diagrams/quickStyle24.xml"/><Relationship Id="rId4" Type="http://schemas.openxmlformats.org/officeDocument/2006/relationships/diagramLayout" Target="../diagrams/layout2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6.xml"/><Relationship Id="rId13" Type="http://schemas.openxmlformats.org/officeDocument/2006/relationships/diagramData" Target="../diagrams/data27.xml"/><Relationship Id="rId18" Type="http://schemas.openxmlformats.org/officeDocument/2006/relationships/diagramData" Target="../diagrams/data28.xml"/><Relationship Id="rId3" Type="http://schemas.openxmlformats.org/officeDocument/2006/relationships/diagramData" Target="../diagrams/data25.xml"/><Relationship Id="rId21" Type="http://schemas.openxmlformats.org/officeDocument/2006/relationships/diagramColors" Target="../diagrams/colors28.xml"/><Relationship Id="rId7" Type="http://schemas.microsoft.com/office/2007/relationships/diagramDrawing" Target="../diagrams/drawing25.xml"/><Relationship Id="rId12" Type="http://schemas.microsoft.com/office/2007/relationships/diagramDrawing" Target="../diagrams/drawing26.xml"/><Relationship Id="rId17" Type="http://schemas.microsoft.com/office/2007/relationships/diagramDrawing" Target="../diagrams/drawing27.xml"/><Relationship Id="rId2" Type="http://schemas.openxmlformats.org/officeDocument/2006/relationships/notesSlide" Target="../notesSlides/notesSlide12.xml"/><Relationship Id="rId16" Type="http://schemas.openxmlformats.org/officeDocument/2006/relationships/diagramColors" Target="../diagrams/colors27.xml"/><Relationship Id="rId20" Type="http://schemas.openxmlformats.org/officeDocument/2006/relationships/diagramQuickStyle" Target="../diagrams/quickStyle28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25.xml"/><Relationship Id="rId11" Type="http://schemas.openxmlformats.org/officeDocument/2006/relationships/diagramColors" Target="../diagrams/colors26.xml"/><Relationship Id="rId5" Type="http://schemas.openxmlformats.org/officeDocument/2006/relationships/diagramQuickStyle" Target="../diagrams/quickStyle25.xml"/><Relationship Id="rId15" Type="http://schemas.openxmlformats.org/officeDocument/2006/relationships/diagramQuickStyle" Target="../diagrams/quickStyle27.xml"/><Relationship Id="rId10" Type="http://schemas.openxmlformats.org/officeDocument/2006/relationships/diagramQuickStyle" Target="../diagrams/quickStyle26.xml"/><Relationship Id="rId19" Type="http://schemas.openxmlformats.org/officeDocument/2006/relationships/diagramLayout" Target="../diagrams/layout28.xml"/><Relationship Id="rId4" Type="http://schemas.openxmlformats.org/officeDocument/2006/relationships/diagramLayout" Target="../diagrams/layout25.xml"/><Relationship Id="rId9" Type="http://schemas.openxmlformats.org/officeDocument/2006/relationships/diagramLayout" Target="../diagrams/layout26.xml"/><Relationship Id="rId14" Type="http://schemas.openxmlformats.org/officeDocument/2006/relationships/diagramLayout" Target="../diagrams/layout27.xml"/><Relationship Id="rId22" Type="http://schemas.microsoft.com/office/2007/relationships/diagramDrawing" Target="../diagrams/drawing2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9.xml"/><Relationship Id="rId7" Type="http://schemas.microsoft.com/office/2007/relationships/diagramDrawing" Target="../diagrams/drawing29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29.xml"/><Relationship Id="rId5" Type="http://schemas.openxmlformats.org/officeDocument/2006/relationships/diagramQuickStyle" Target="../diagrams/quickStyle29.xml"/><Relationship Id="rId4" Type="http://schemas.openxmlformats.org/officeDocument/2006/relationships/diagramLayout" Target="../diagrams/layout29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1.xml"/><Relationship Id="rId13" Type="http://schemas.openxmlformats.org/officeDocument/2006/relationships/diagramData" Target="../diagrams/data32.xml"/><Relationship Id="rId18" Type="http://schemas.openxmlformats.org/officeDocument/2006/relationships/diagramData" Target="../diagrams/data33.xml"/><Relationship Id="rId3" Type="http://schemas.openxmlformats.org/officeDocument/2006/relationships/diagramData" Target="../diagrams/data30.xml"/><Relationship Id="rId21" Type="http://schemas.openxmlformats.org/officeDocument/2006/relationships/diagramColors" Target="../diagrams/colors33.xml"/><Relationship Id="rId7" Type="http://schemas.microsoft.com/office/2007/relationships/diagramDrawing" Target="../diagrams/drawing30.xml"/><Relationship Id="rId12" Type="http://schemas.microsoft.com/office/2007/relationships/diagramDrawing" Target="../diagrams/drawing31.xml"/><Relationship Id="rId17" Type="http://schemas.microsoft.com/office/2007/relationships/diagramDrawing" Target="../diagrams/drawing32.xml"/><Relationship Id="rId2" Type="http://schemas.openxmlformats.org/officeDocument/2006/relationships/notesSlide" Target="../notesSlides/notesSlide14.xml"/><Relationship Id="rId16" Type="http://schemas.openxmlformats.org/officeDocument/2006/relationships/diagramColors" Target="../diagrams/colors32.xml"/><Relationship Id="rId20" Type="http://schemas.openxmlformats.org/officeDocument/2006/relationships/diagramQuickStyle" Target="../diagrams/quickStyle33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30.xml"/><Relationship Id="rId11" Type="http://schemas.openxmlformats.org/officeDocument/2006/relationships/diagramColors" Target="../diagrams/colors31.xml"/><Relationship Id="rId5" Type="http://schemas.openxmlformats.org/officeDocument/2006/relationships/diagramQuickStyle" Target="../diagrams/quickStyle30.xml"/><Relationship Id="rId15" Type="http://schemas.openxmlformats.org/officeDocument/2006/relationships/diagramQuickStyle" Target="../diagrams/quickStyle32.xml"/><Relationship Id="rId10" Type="http://schemas.openxmlformats.org/officeDocument/2006/relationships/diagramQuickStyle" Target="../diagrams/quickStyle31.xml"/><Relationship Id="rId19" Type="http://schemas.openxmlformats.org/officeDocument/2006/relationships/diagramLayout" Target="../diagrams/layout33.xml"/><Relationship Id="rId4" Type="http://schemas.openxmlformats.org/officeDocument/2006/relationships/diagramLayout" Target="../diagrams/layout30.xml"/><Relationship Id="rId9" Type="http://schemas.openxmlformats.org/officeDocument/2006/relationships/diagramLayout" Target="../diagrams/layout31.xml"/><Relationship Id="rId14" Type="http://schemas.openxmlformats.org/officeDocument/2006/relationships/diagramLayout" Target="../diagrams/layout32.xml"/><Relationship Id="rId22" Type="http://schemas.microsoft.com/office/2007/relationships/diagramDrawing" Target="../diagrams/drawing3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4.xml"/><Relationship Id="rId7" Type="http://schemas.microsoft.com/office/2007/relationships/diagramDrawing" Target="../diagrams/drawing34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34.xml"/><Relationship Id="rId5" Type="http://schemas.openxmlformats.org/officeDocument/2006/relationships/diagramQuickStyle" Target="../diagrams/quickStyle34.xml"/><Relationship Id="rId4" Type="http://schemas.openxmlformats.org/officeDocument/2006/relationships/diagramLayout" Target="../diagrams/layout34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6.xml"/><Relationship Id="rId13" Type="http://schemas.openxmlformats.org/officeDocument/2006/relationships/diagramData" Target="../diagrams/data37.xml"/><Relationship Id="rId3" Type="http://schemas.openxmlformats.org/officeDocument/2006/relationships/diagramData" Target="../diagrams/data35.xml"/><Relationship Id="rId7" Type="http://schemas.microsoft.com/office/2007/relationships/diagramDrawing" Target="../diagrams/drawing35.xml"/><Relationship Id="rId12" Type="http://schemas.microsoft.com/office/2007/relationships/diagramDrawing" Target="../diagrams/drawing36.xml"/><Relationship Id="rId17" Type="http://schemas.microsoft.com/office/2007/relationships/diagramDrawing" Target="../diagrams/drawing37.xml"/><Relationship Id="rId2" Type="http://schemas.openxmlformats.org/officeDocument/2006/relationships/notesSlide" Target="../notesSlides/notesSlide16.xml"/><Relationship Id="rId16" Type="http://schemas.openxmlformats.org/officeDocument/2006/relationships/diagramColors" Target="../diagrams/colors37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35.xml"/><Relationship Id="rId11" Type="http://schemas.openxmlformats.org/officeDocument/2006/relationships/diagramColors" Target="../diagrams/colors36.xml"/><Relationship Id="rId5" Type="http://schemas.openxmlformats.org/officeDocument/2006/relationships/diagramQuickStyle" Target="../diagrams/quickStyle35.xml"/><Relationship Id="rId15" Type="http://schemas.openxmlformats.org/officeDocument/2006/relationships/diagramQuickStyle" Target="../diagrams/quickStyle37.xml"/><Relationship Id="rId10" Type="http://schemas.openxmlformats.org/officeDocument/2006/relationships/diagramQuickStyle" Target="../diagrams/quickStyle36.xml"/><Relationship Id="rId4" Type="http://schemas.openxmlformats.org/officeDocument/2006/relationships/diagramLayout" Target="../diagrams/layout35.xml"/><Relationship Id="rId9" Type="http://schemas.openxmlformats.org/officeDocument/2006/relationships/diagramLayout" Target="../diagrams/layout36.xml"/><Relationship Id="rId14" Type="http://schemas.openxmlformats.org/officeDocument/2006/relationships/diagramLayout" Target="../diagrams/layout3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8.xml"/><Relationship Id="rId7" Type="http://schemas.microsoft.com/office/2007/relationships/diagramDrawing" Target="../diagrams/drawing38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38.xml"/><Relationship Id="rId5" Type="http://schemas.openxmlformats.org/officeDocument/2006/relationships/diagramQuickStyle" Target="../diagrams/quickStyle38.xml"/><Relationship Id="rId4" Type="http://schemas.openxmlformats.org/officeDocument/2006/relationships/diagramLayout" Target="../diagrams/layout38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0.xml"/><Relationship Id="rId13" Type="http://schemas.openxmlformats.org/officeDocument/2006/relationships/diagramData" Target="../diagrams/data41.xml"/><Relationship Id="rId18" Type="http://schemas.openxmlformats.org/officeDocument/2006/relationships/diagramData" Target="../diagrams/data42.xml"/><Relationship Id="rId3" Type="http://schemas.openxmlformats.org/officeDocument/2006/relationships/diagramData" Target="../diagrams/data39.xml"/><Relationship Id="rId21" Type="http://schemas.openxmlformats.org/officeDocument/2006/relationships/diagramColors" Target="../diagrams/colors42.xml"/><Relationship Id="rId7" Type="http://schemas.microsoft.com/office/2007/relationships/diagramDrawing" Target="../diagrams/drawing39.xml"/><Relationship Id="rId12" Type="http://schemas.microsoft.com/office/2007/relationships/diagramDrawing" Target="../diagrams/drawing40.xml"/><Relationship Id="rId17" Type="http://schemas.microsoft.com/office/2007/relationships/diagramDrawing" Target="../diagrams/drawing41.xml"/><Relationship Id="rId2" Type="http://schemas.openxmlformats.org/officeDocument/2006/relationships/notesSlide" Target="../notesSlides/notesSlide18.xml"/><Relationship Id="rId16" Type="http://schemas.openxmlformats.org/officeDocument/2006/relationships/diagramColors" Target="../diagrams/colors41.xml"/><Relationship Id="rId20" Type="http://schemas.openxmlformats.org/officeDocument/2006/relationships/diagramQuickStyle" Target="../diagrams/quickStyle42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39.xml"/><Relationship Id="rId11" Type="http://schemas.openxmlformats.org/officeDocument/2006/relationships/diagramColors" Target="../diagrams/colors40.xml"/><Relationship Id="rId5" Type="http://schemas.openxmlformats.org/officeDocument/2006/relationships/diagramQuickStyle" Target="../diagrams/quickStyle39.xml"/><Relationship Id="rId15" Type="http://schemas.openxmlformats.org/officeDocument/2006/relationships/diagramQuickStyle" Target="../diagrams/quickStyle41.xml"/><Relationship Id="rId10" Type="http://schemas.openxmlformats.org/officeDocument/2006/relationships/diagramQuickStyle" Target="../diagrams/quickStyle40.xml"/><Relationship Id="rId19" Type="http://schemas.openxmlformats.org/officeDocument/2006/relationships/diagramLayout" Target="../diagrams/layout42.xml"/><Relationship Id="rId4" Type="http://schemas.openxmlformats.org/officeDocument/2006/relationships/diagramLayout" Target="../diagrams/layout39.xml"/><Relationship Id="rId9" Type="http://schemas.openxmlformats.org/officeDocument/2006/relationships/diagramLayout" Target="../diagrams/layout40.xml"/><Relationship Id="rId14" Type="http://schemas.openxmlformats.org/officeDocument/2006/relationships/diagramLayout" Target="../diagrams/layout41.xml"/><Relationship Id="rId22" Type="http://schemas.microsoft.com/office/2007/relationships/diagramDrawing" Target="../diagrams/drawing4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4.xml"/><Relationship Id="rId3" Type="http://schemas.openxmlformats.org/officeDocument/2006/relationships/diagramData" Target="../diagrams/data43.xml"/><Relationship Id="rId7" Type="http://schemas.microsoft.com/office/2007/relationships/diagramDrawing" Target="../diagrams/drawing43.xml"/><Relationship Id="rId12" Type="http://schemas.microsoft.com/office/2007/relationships/diagramDrawing" Target="../diagrams/drawing44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43.xml"/><Relationship Id="rId11" Type="http://schemas.openxmlformats.org/officeDocument/2006/relationships/diagramColors" Target="../diagrams/colors44.xml"/><Relationship Id="rId5" Type="http://schemas.openxmlformats.org/officeDocument/2006/relationships/diagramQuickStyle" Target="../diagrams/quickStyle43.xml"/><Relationship Id="rId10" Type="http://schemas.openxmlformats.org/officeDocument/2006/relationships/diagramQuickStyle" Target="../diagrams/quickStyle44.xml"/><Relationship Id="rId4" Type="http://schemas.openxmlformats.org/officeDocument/2006/relationships/diagramLayout" Target="../diagrams/layout43.xml"/><Relationship Id="rId9" Type="http://schemas.openxmlformats.org/officeDocument/2006/relationships/diagramLayout" Target="../diagrams/layout4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3" Type="http://schemas.openxmlformats.org/officeDocument/2006/relationships/slideLayout" Target="../slideLayouts/slideLayout8.xml"/><Relationship Id="rId7" Type="http://schemas.openxmlformats.org/officeDocument/2006/relationships/diagramLayout" Target="../diagrams/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diagramData" Target="../diagrams/data2.xml"/><Relationship Id="rId5" Type="http://schemas.openxmlformats.org/officeDocument/2006/relationships/image" Target="../media/image3.emf"/><Relationship Id="rId10" Type="http://schemas.microsoft.com/office/2007/relationships/diagramDrawing" Target="../diagrams/drawing2.xml"/><Relationship Id="rId4" Type="http://schemas.openxmlformats.org/officeDocument/2006/relationships/oleObject" Target="../embeddings/oleObject1.bin"/><Relationship Id="rId9" Type="http://schemas.openxmlformats.org/officeDocument/2006/relationships/diagramColors" Target="../diagrams/colors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12" Type="http://schemas.microsoft.com/office/2007/relationships/diagramDrawing" Target="../diagrams/drawing4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3.xml"/><Relationship Id="rId11" Type="http://schemas.openxmlformats.org/officeDocument/2006/relationships/diagramColors" Target="../diagrams/colors4.xml"/><Relationship Id="rId5" Type="http://schemas.openxmlformats.org/officeDocument/2006/relationships/diagramQuickStyle" Target="../diagrams/quickStyle3.xml"/><Relationship Id="rId10" Type="http://schemas.openxmlformats.org/officeDocument/2006/relationships/diagramQuickStyle" Target="../diagrams/quickStyle4.xml"/><Relationship Id="rId4" Type="http://schemas.openxmlformats.org/officeDocument/2006/relationships/diagramLayout" Target="../diagrams/layout3.xml"/><Relationship Id="rId9" Type="http://schemas.openxmlformats.org/officeDocument/2006/relationships/diagramLayout" Target="../diagrams/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5.xml"/><Relationship Id="rId13" Type="http://schemas.openxmlformats.org/officeDocument/2006/relationships/diagramQuickStyle" Target="../diagrams/quickStyle6.xml"/><Relationship Id="rId3" Type="http://schemas.openxmlformats.org/officeDocument/2006/relationships/slideLayout" Target="../slideLayouts/slideLayout8.xml"/><Relationship Id="rId7" Type="http://schemas.openxmlformats.org/officeDocument/2006/relationships/diagramLayout" Target="../diagrams/layout5.xml"/><Relationship Id="rId12" Type="http://schemas.openxmlformats.org/officeDocument/2006/relationships/diagramLayout" Target="../diagrams/layout6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diagramData" Target="../diagrams/data5.xml"/><Relationship Id="rId11" Type="http://schemas.openxmlformats.org/officeDocument/2006/relationships/diagramData" Target="../diagrams/data6.xml"/><Relationship Id="rId5" Type="http://schemas.openxmlformats.org/officeDocument/2006/relationships/image" Target="../media/image3.emf"/><Relationship Id="rId15" Type="http://schemas.microsoft.com/office/2007/relationships/diagramDrawing" Target="../diagrams/drawing6.xml"/><Relationship Id="rId10" Type="http://schemas.microsoft.com/office/2007/relationships/diagramDrawing" Target="../diagrams/drawing5.xml"/><Relationship Id="rId4" Type="http://schemas.openxmlformats.org/officeDocument/2006/relationships/oleObject" Target="../embeddings/oleObject2.bin"/><Relationship Id="rId9" Type="http://schemas.openxmlformats.org/officeDocument/2006/relationships/diagramColors" Target="../diagrams/colors5.xml"/><Relationship Id="rId14" Type="http://schemas.openxmlformats.org/officeDocument/2006/relationships/diagramColors" Target="../diagrams/colors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9.xml"/><Relationship Id="rId13" Type="http://schemas.openxmlformats.org/officeDocument/2006/relationships/diagramData" Target="../diagrams/data10.xml"/><Relationship Id="rId18" Type="http://schemas.openxmlformats.org/officeDocument/2006/relationships/diagramData" Target="../diagrams/data11.xml"/><Relationship Id="rId3" Type="http://schemas.openxmlformats.org/officeDocument/2006/relationships/diagramData" Target="../diagrams/data8.xml"/><Relationship Id="rId21" Type="http://schemas.openxmlformats.org/officeDocument/2006/relationships/diagramColors" Target="../diagrams/colors11.xml"/><Relationship Id="rId7" Type="http://schemas.microsoft.com/office/2007/relationships/diagramDrawing" Target="../diagrams/drawing8.xml"/><Relationship Id="rId12" Type="http://schemas.microsoft.com/office/2007/relationships/diagramDrawing" Target="../diagrams/drawing9.xml"/><Relationship Id="rId17" Type="http://schemas.microsoft.com/office/2007/relationships/diagramDrawing" Target="../diagrams/drawing10.xml"/><Relationship Id="rId2" Type="http://schemas.openxmlformats.org/officeDocument/2006/relationships/notesSlide" Target="../notesSlides/notesSlide4.xml"/><Relationship Id="rId16" Type="http://schemas.openxmlformats.org/officeDocument/2006/relationships/diagramColors" Target="../diagrams/colors10.xml"/><Relationship Id="rId20" Type="http://schemas.openxmlformats.org/officeDocument/2006/relationships/diagramQuickStyle" Target="../diagrams/quickStyle11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8.xml"/><Relationship Id="rId11" Type="http://schemas.openxmlformats.org/officeDocument/2006/relationships/diagramColors" Target="../diagrams/colors9.xml"/><Relationship Id="rId5" Type="http://schemas.openxmlformats.org/officeDocument/2006/relationships/diagramQuickStyle" Target="../diagrams/quickStyle8.xml"/><Relationship Id="rId15" Type="http://schemas.openxmlformats.org/officeDocument/2006/relationships/diagramQuickStyle" Target="../diagrams/quickStyle10.xml"/><Relationship Id="rId10" Type="http://schemas.openxmlformats.org/officeDocument/2006/relationships/diagramQuickStyle" Target="../diagrams/quickStyle9.xml"/><Relationship Id="rId19" Type="http://schemas.openxmlformats.org/officeDocument/2006/relationships/diagramLayout" Target="../diagrams/layout11.xml"/><Relationship Id="rId4" Type="http://schemas.openxmlformats.org/officeDocument/2006/relationships/diagramLayout" Target="../diagrams/layout8.xml"/><Relationship Id="rId9" Type="http://schemas.openxmlformats.org/officeDocument/2006/relationships/diagramLayout" Target="../diagrams/layout9.xml"/><Relationship Id="rId14" Type="http://schemas.openxmlformats.org/officeDocument/2006/relationships/diagramLayout" Target="../diagrams/layout10.xml"/><Relationship Id="rId22" Type="http://schemas.microsoft.com/office/2007/relationships/diagramDrawing" Target="../diagrams/drawing11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diagramData" Target="../diagrams/data14.xml"/><Relationship Id="rId18" Type="http://schemas.openxmlformats.org/officeDocument/2006/relationships/diagramData" Target="../diagrams/data15.xml"/><Relationship Id="rId26" Type="http://schemas.openxmlformats.org/officeDocument/2006/relationships/diagramColors" Target="../diagrams/colors16.xml"/><Relationship Id="rId21" Type="http://schemas.openxmlformats.org/officeDocument/2006/relationships/diagramColors" Target="../diagrams/colors15.xml"/><Relationship Id="rId34" Type="http://schemas.openxmlformats.org/officeDocument/2006/relationships/diagramLayout" Target="../diagrams/layout18.xml"/><Relationship Id="rId7" Type="http://schemas.microsoft.com/office/2007/relationships/diagramDrawing" Target="../diagrams/drawing12.xml"/><Relationship Id="rId12" Type="http://schemas.microsoft.com/office/2007/relationships/diagramDrawing" Target="../diagrams/drawing13.xml"/><Relationship Id="rId17" Type="http://schemas.microsoft.com/office/2007/relationships/diagramDrawing" Target="../diagrams/drawing14.xml"/><Relationship Id="rId25" Type="http://schemas.openxmlformats.org/officeDocument/2006/relationships/diagramQuickStyle" Target="../diagrams/quickStyle16.xml"/><Relationship Id="rId33" Type="http://schemas.openxmlformats.org/officeDocument/2006/relationships/diagramData" Target="../diagrams/data18.xml"/><Relationship Id="rId2" Type="http://schemas.openxmlformats.org/officeDocument/2006/relationships/notesSlide" Target="../notesSlides/notesSlide5.xml"/><Relationship Id="rId16" Type="http://schemas.openxmlformats.org/officeDocument/2006/relationships/diagramColors" Target="../diagrams/colors14.xml"/><Relationship Id="rId20" Type="http://schemas.openxmlformats.org/officeDocument/2006/relationships/diagramQuickStyle" Target="../diagrams/quickStyle15.xml"/><Relationship Id="rId29" Type="http://schemas.openxmlformats.org/officeDocument/2006/relationships/diagramLayout" Target="../diagrams/layout17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2.xml"/><Relationship Id="rId11" Type="http://schemas.openxmlformats.org/officeDocument/2006/relationships/diagramColors" Target="../diagrams/colors13.xml"/><Relationship Id="rId24" Type="http://schemas.openxmlformats.org/officeDocument/2006/relationships/diagramLayout" Target="../diagrams/layout16.xml"/><Relationship Id="rId32" Type="http://schemas.microsoft.com/office/2007/relationships/diagramDrawing" Target="../diagrams/drawing17.xml"/><Relationship Id="rId37" Type="http://schemas.microsoft.com/office/2007/relationships/diagramDrawing" Target="../diagrams/drawing18.xml"/><Relationship Id="rId5" Type="http://schemas.openxmlformats.org/officeDocument/2006/relationships/diagramQuickStyle" Target="../diagrams/quickStyle12.xml"/><Relationship Id="rId15" Type="http://schemas.openxmlformats.org/officeDocument/2006/relationships/diagramQuickStyle" Target="../diagrams/quickStyle14.xml"/><Relationship Id="rId23" Type="http://schemas.openxmlformats.org/officeDocument/2006/relationships/diagramData" Target="../diagrams/data16.xml"/><Relationship Id="rId28" Type="http://schemas.openxmlformats.org/officeDocument/2006/relationships/diagramData" Target="../diagrams/data17.xml"/><Relationship Id="rId36" Type="http://schemas.openxmlformats.org/officeDocument/2006/relationships/diagramColors" Target="../diagrams/colors18.xml"/><Relationship Id="rId10" Type="http://schemas.openxmlformats.org/officeDocument/2006/relationships/diagramQuickStyle" Target="../diagrams/quickStyle13.xml"/><Relationship Id="rId19" Type="http://schemas.openxmlformats.org/officeDocument/2006/relationships/diagramLayout" Target="../diagrams/layout15.xml"/><Relationship Id="rId31" Type="http://schemas.openxmlformats.org/officeDocument/2006/relationships/diagramColors" Target="../diagrams/colors17.xml"/><Relationship Id="rId4" Type="http://schemas.openxmlformats.org/officeDocument/2006/relationships/diagramLayout" Target="../diagrams/layout12.xml"/><Relationship Id="rId9" Type="http://schemas.openxmlformats.org/officeDocument/2006/relationships/diagramLayout" Target="../diagrams/layout13.xml"/><Relationship Id="rId14" Type="http://schemas.openxmlformats.org/officeDocument/2006/relationships/diagramLayout" Target="../diagrams/layout14.xml"/><Relationship Id="rId22" Type="http://schemas.microsoft.com/office/2007/relationships/diagramDrawing" Target="../diagrams/drawing15.xml"/><Relationship Id="rId27" Type="http://schemas.microsoft.com/office/2007/relationships/diagramDrawing" Target="../diagrams/drawing16.xml"/><Relationship Id="rId30" Type="http://schemas.openxmlformats.org/officeDocument/2006/relationships/diagramQuickStyle" Target="../diagrams/quickStyle17.xml"/><Relationship Id="rId35" Type="http://schemas.openxmlformats.org/officeDocument/2006/relationships/diagramQuickStyle" Target="../diagrams/quickStyle18.xml"/><Relationship Id="rId8" Type="http://schemas.openxmlformats.org/officeDocument/2006/relationships/diagramData" Target="../diagrams/data13.xml"/><Relationship Id="rId3" Type="http://schemas.openxmlformats.org/officeDocument/2006/relationships/diagramData" Target="../diagrams/data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9.xml"/><Relationship Id="rId7" Type="http://schemas.microsoft.com/office/2007/relationships/diagramDrawing" Target="../diagrams/drawing19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9.xml"/><Relationship Id="rId5" Type="http://schemas.openxmlformats.org/officeDocument/2006/relationships/diagramQuickStyle" Target="../diagrams/quickStyle19.xml"/><Relationship Id="rId4" Type="http://schemas.openxmlformats.org/officeDocument/2006/relationships/diagramLayout" Target="../diagrams/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DEF30C07-6C5D-4D75-BA32-E24C09CA8DBC}"/>
              </a:ext>
            </a:extLst>
          </p:cNvPr>
          <p:cNvSpPr txBox="1">
            <a:spLocks/>
          </p:cNvSpPr>
          <p:nvPr/>
        </p:nvSpPr>
        <p:spPr bwMode="auto">
          <a:xfrm>
            <a:off x="611560" y="2205038"/>
            <a:ext cx="7415213" cy="1944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457200" eaLnBrk="1" hangingPunct="1">
              <a:spcBef>
                <a:spcPts val="600"/>
              </a:spcBef>
              <a:spcAft>
                <a:spcPts val="600"/>
              </a:spcAft>
              <a:defRPr/>
            </a:pPr>
            <a:r>
              <a:rPr lang="pt-BR" sz="28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Sessão presencial - Audiência Pública nº 16/2018</a:t>
            </a:r>
            <a:endParaRPr lang="pt-BR" sz="2800" dirty="0">
              <a:latin typeface="+mj-lt"/>
              <a:ea typeface="+mj-ea"/>
              <a:cs typeface="+mj-cs"/>
            </a:endParaRPr>
          </a:p>
          <a:p>
            <a:pPr algn="just" defTabSz="457200" eaLnBrk="1" hangingPunct="1">
              <a:spcBef>
                <a:spcPts val="600"/>
              </a:spcBef>
              <a:spcAft>
                <a:spcPts val="600"/>
              </a:spcAft>
              <a:defRPr/>
            </a:pPr>
            <a:r>
              <a:rPr lang="pt-BR" sz="1800" b="1" dirty="0">
                <a:latin typeface="+mj-lt"/>
              </a:rPr>
              <a:t>Proposta de resolução que revoga e substitui a Resolução nº 355/2015</a:t>
            </a:r>
          </a:p>
          <a:p>
            <a:pPr algn="just" defTabSz="457200" eaLnBrk="1" hangingPunct="1">
              <a:spcBef>
                <a:spcPts val="600"/>
              </a:spcBef>
              <a:spcAft>
                <a:spcPts val="600"/>
              </a:spcAft>
              <a:defRPr/>
            </a:pPr>
            <a:r>
              <a:rPr lang="pt-BR" sz="1800" dirty="0">
                <a:latin typeface="+mj-lt"/>
              </a:rPr>
              <a:t>set/2018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Espaço Reservado para Número de Slide 5">
            <a:extLst>
              <a:ext uri="{FF2B5EF4-FFF2-40B4-BE49-F238E27FC236}">
                <a16:creationId xmlns:a16="http://schemas.microsoft.com/office/drawing/2014/main" id="{6963446D-1D6D-4AA4-ADFB-12343C88FC3F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59875E4B-2AC7-4108-AB89-789856F069D0}" type="slidenum">
              <a:rPr lang="en-US" altLang="pt-BR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buFontTx/>
                <a:buNone/>
              </a:pPr>
              <a:t>10</a:t>
            </a:fld>
            <a:endParaRPr lang="en-US" altLang="pt-BR" sz="1200">
              <a:solidFill>
                <a:schemeClr val="bg1"/>
              </a:solidFill>
            </a:endParaRPr>
          </a:p>
        </p:txBody>
      </p:sp>
      <p:sp>
        <p:nvSpPr>
          <p:cNvPr id="30723" name="TextBox 5">
            <a:extLst>
              <a:ext uri="{FF2B5EF4-FFF2-40B4-BE49-F238E27FC236}">
                <a16:creationId xmlns:a16="http://schemas.microsoft.com/office/drawing/2014/main" id="{F78C6A92-AEA8-4BDA-93DE-D9B85E1C1E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7200" y="6505575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pt-BR" sz="1400">
                <a:solidFill>
                  <a:schemeClr val="bg1"/>
                </a:solidFill>
              </a:rPr>
              <a:t>Agência Nacional de Aviação Civil</a:t>
            </a:r>
          </a:p>
        </p:txBody>
      </p:sp>
      <p:grpSp>
        <p:nvGrpSpPr>
          <p:cNvPr id="8" name="Agrupar 7">
            <a:extLst>
              <a:ext uri="{FF2B5EF4-FFF2-40B4-BE49-F238E27FC236}">
                <a16:creationId xmlns:a16="http://schemas.microsoft.com/office/drawing/2014/main" id="{51C8EE0A-0929-43BA-9C4C-5B71B0487C23}"/>
              </a:ext>
            </a:extLst>
          </p:cNvPr>
          <p:cNvGrpSpPr/>
          <p:nvPr/>
        </p:nvGrpSpPr>
        <p:grpSpPr>
          <a:xfrm>
            <a:off x="337772" y="1420005"/>
            <a:ext cx="8458200" cy="656062"/>
            <a:chOff x="0" y="1562386"/>
            <a:chExt cx="8458200" cy="656062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9" name="Retângulo: Cantos Arredondados 8">
              <a:extLst>
                <a:ext uri="{FF2B5EF4-FFF2-40B4-BE49-F238E27FC236}">
                  <a16:creationId xmlns:a16="http://schemas.microsoft.com/office/drawing/2014/main" id="{49ADADB6-5640-4947-BE60-DEAA8B7009FE}"/>
                </a:ext>
              </a:extLst>
            </p:cNvPr>
            <p:cNvSpPr/>
            <p:nvPr/>
          </p:nvSpPr>
          <p:spPr>
            <a:xfrm>
              <a:off x="0" y="1562386"/>
              <a:ext cx="8458200" cy="656062"/>
            </a:xfrm>
            <a:prstGeom prst="roundRect">
              <a:avLst/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Retângulo: Cantos Arredondados 4">
              <a:extLst>
                <a:ext uri="{FF2B5EF4-FFF2-40B4-BE49-F238E27FC236}">
                  <a16:creationId xmlns:a16="http://schemas.microsoft.com/office/drawing/2014/main" id="{13565100-9894-4361-81CF-A1413844D80E}"/>
                </a:ext>
              </a:extLst>
            </p:cNvPr>
            <p:cNvSpPr txBox="1"/>
            <p:nvPr/>
          </p:nvSpPr>
          <p:spPr>
            <a:xfrm>
              <a:off x="32026" y="1594412"/>
              <a:ext cx="8394148" cy="592010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6200" tIns="76200" rIns="76200" bIns="76200" spcCol="1270" anchor="ctr"/>
            <a:lstStyle/>
            <a:p>
              <a:pPr defTabSz="889000" eaLnBrk="1" fontAlgn="auto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pt-BR" sz="2000" dirty="0"/>
                <a:t>Capítulo III – DO PEDIDO DE REVISÃO EXTRAORDINÁRIA</a:t>
              </a:r>
            </a:p>
          </p:txBody>
        </p:sp>
      </p:grpSp>
      <p:grpSp>
        <p:nvGrpSpPr>
          <p:cNvPr id="30726" name="Agrupar 11">
            <a:extLst>
              <a:ext uri="{FF2B5EF4-FFF2-40B4-BE49-F238E27FC236}">
                <a16:creationId xmlns:a16="http://schemas.microsoft.com/office/drawing/2014/main" id="{8AF6C894-B241-4C46-A6E0-FCBD69E5317B}"/>
              </a:ext>
            </a:extLst>
          </p:cNvPr>
          <p:cNvGrpSpPr>
            <a:grpSpLocks/>
          </p:cNvGrpSpPr>
          <p:nvPr/>
        </p:nvGrpSpPr>
        <p:grpSpPr bwMode="auto">
          <a:xfrm>
            <a:off x="338138" y="3048000"/>
            <a:ext cx="5026025" cy="576263"/>
            <a:chOff x="251526" y="0"/>
            <a:chExt cx="2796214" cy="576056"/>
          </a:xfrm>
        </p:grpSpPr>
        <p:sp>
          <p:nvSpPr>
            <p:cNvPr id="13" name="Retângulo: Cantos Arredondados 12">
              <a:extLst>
                <a:ext uri="{FF2B5EF4-FFF2-40B4-BE49-F238E27FC236}">
                  <a16:creationId xmlns:a16="http://schemas.microsoft.com/office/drawing/2014/main" id="{E829EF1F-36B4-4C5B-BAC5-E6A6B914833F}"/>
                </a:ext>
              </a:extLst>
            </p:cNvPr>
            <p:cNvSpPr/>
            <p:nvPr/>
          </p:nvSpPr>
          <p:spPr>
            <a:xfrm rot="10800000" flipV="1">
              <a:off x="251526" y="0"/>
              <a:ext cx="2796214" cy="576056"/>
            </a:xfrm>
            <a:prstGeom prst="roundRect">
              <a:avLst>
                <a:gd name="adj" fmla="val 10000"/>
              </a:avLst>
            </a:prstGeom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shade val="50000"/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shade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Retângulo: Cantos Arredondados 4">
              <a:extLst>
                <a:ext uri="{FF2B5EF4-FFF2-40B4-BE49-F238E27FC236}">
                  <a16:creationId xmlns:a16="http://schemas.microsoft.com/office/drawing/2014/main" id="{2F3CB008-D289-475D-A77E-2E3298B703B0}"/>
                </a:ext>
              </a:extLst>
            </p:cNvPr>
            <p:cNvSpPr txBox="1"/>
            <p:nvPr/>
          </p:nvSpPr>
          <p:spPr>
            <a:xfrm>
              <a:off x="268307" y="17457"/>
              <a:ext cx="2762652" cy="54114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25400" tIns="25400" rIns="25400" bIns="25400" spcCol="1270" anchor="ctr"/>
            <a:lstStyle/>
            <a:p>
              <a:pPr defTabSz="8890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pt-BR" sz="2000" dirty="0"/>
                <a:t>Seção II – Da análise</a:t>
              </a:r>
            </a:p>
          </p:txBody>
        </p:sp>
      </p:grpSp>
      <p:grpSp>
        <p:nvGrpSpPr>
          <p:cNvPr id="30727" name="Agrupar 14">
            <a:extLst>
              <a:ext uri="{FF2B5EF4-FFF2-40B4-BE49-F238E27FC236}">
                <a16:creationId xmlns:a16="http://schemas.microsoft.com/office/drawing/2014/main" id="{E6AE4ECE-08FC-4B55-B9B4-F96B0395C2DA}"/>
              </a:ext>
            </a:extLst>
          </p:cNvPr>
          <p:cNvGrpSpPr>
            <a:grpSpLocks/>
          </p:cNvGrpSpPr>
          <p:nvPr/>
        </p:nvGrpSpPr>
        <p:grpSpPr bwMode="auto">
          <a:xfrm>
            <a:off x="338138" y="2273300"/>
            <a:ext cx="5026025" cy="576263"/>
            <a:chOff x="251526" y="0"/>
            <a:chExt cx="2796214" cy="576056"/>
          </a:xfrm>
        </p:grpSpPr>
        <p:sp>
          <p:nvSpPr>
            <p:cNvPr id="16" name="Retângulo: Cantos Arredondados 15">
              <a:extLst>
                <a:ext uri="{FF2B5EF4-FFF2-40B4-BE49-F238E27FC236}">
                  <a16:creationId xmlns:a16="http://schemas.microsoft.com/office/drawing/2014/main" id="{FFA33387-3088-4ABA-A903-5E5B492BAC01}"/>
                </a:ext>
              </a:extLst>
            </p:cNvPr>
            <p:cNvSpPr/>
            <p:nvPr/>
          </p:nvSpPr>
          <p:spPr>
            <a:xfrm rot="10800000" flipV="1">
              <a:off x="251526" y="0"/>
              <a:ext cx="2796214" cy="576056"/>
            </a:xfrm>
            <a:prstGeom prst="roundRect">
              <a:avLst>
                <a:gd name="adj" fmla="val 10000"/>
              </a:avLst>
            </a:prstGeom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shade val="50000"/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shade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" name="Retângulo: Cantos Arredondados 4">
              <a:extLst>
                <a:ext uri="{FF2B5EF4-FFF2-40B4-BE49-F238E27FC236}">
                  <a16:creationId xmlns:a16="http://schemas.microsoft.com/office/drawing/2014/main" id="{04227BDD-4700-4719-BF3D-739FD999D881}"/>
                </a:ext>
              </a:extLst>
            </p:cNvPr>
            <p:cNvSpPr txBox="1"/>
            <p:nvPr/>
          </p:nvSpPr>
          <p:spPr>
            <a:xfrm>
              <a:off x="268307" y="17457"/>
              <a:ext cx="2762652" cy="54114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25400" tIns="25400" rIns="25400" bIns="25400" spcCol="1270" anchor="ctr"/>
            <a:lstStyle/>
            <a:p>
              <a:pPr defTabSz="8890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pt-BR" sz="2000" dirty="0"/>
                <a:t>Seção I – Da instrução</a:t>
              </a:r>
            </a:p>
          </p:txBody>
        </p:sp>
      </p:grpSp>
      <p:grpSp>
        <p:nvGrpSpPr>
          <p:cNvPr id="30728" name="Agrupar 17">
            <a:extLst>
              <a:ext uri="{FF2B5EF4-FFF2-40B4-BE49-F238E27FC236}">
                <a16:creationId xmlns:a16="http://schemas.microsoft.com/office/drawing/2014/main" id="{301CCE4E-88D2-4B3A-8C69-7E9AEB247F11}"/>
              </a:ext>
            </a:extLst>
          </p:cNvPr>
          <p:cNvGrpSpPr>
            <a:grpSpLocks/>
          </p:cNvGrpSpPr>
          <p:nvPr/>
        </p:nvGrpSpPr>
        <p:grpSpPr bwMode="auto">
          <a:xfrm>
            <a:off x="354013" y="3813175"/>
            <a:ext cx="5010150" cy="576263"/>
            <a:chOff x="251526" y="0"/>
            <a:chExt cx="2796214" cy="576056"/>
          </a:xfrm>
        </p:grpSpPr>
        <p:sp>
          <p:nvSpPr>
            <p:cNvPr id="19" name="Retângulo: Cantos Arredondados 18">
              <a:extLst>
                <a:ext uri="{FF2B5EF4-FFF2-40B4-BE49-F238E27FC236}">
                  <a16:creationId xmlns:a16="http://schemas.microsoft.com/office/drawing/2014/main" id="{CB85E196-7103-422E-9C26-125A097476B8}"/>
                </a:ext>
              </a:extLst>
            </p:cNvPr>
            <p:cNvSpPr/>
            <p:nvPr/>
          </p:nvSpPr>
          <p:spPr>
            <a:xfrm rot="10800000" flipV="1">
              <a:off x="251526" y="0"/>
              <a:ext cx="2796214" cy="576056"/>
            </a:xfrm>
            <a:prstGeom prst="roundRect">
              <a:avLst>
                <a:gd name="adj" fmla="val 10000"/>
              </a:avLst>
            </a:prstGeom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shade val="50000"/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shade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" name="Retângulo: Cantos Arredondados 4">
              <a:extLst>
                <a:ext uri="{FF2B5EF4-FFF2-40B4-BE49-F238E27FC236}">
                  <a16:creationId xmlns:a16="http://schemas.microsoft.com/office/drawing/2014/main" id="{6B22B711-370D-4D9B-A7AA-9FBC23531DE9}"/>
                </a:ext>
              </a:extLst>
            </p:cNvPr>
            <p:cNvSpPr txBox="1"/>
            <p:nvPr/>
          </p:nvSpPr>
          <p:spPr>
            <a:xfrm>
              <a:off x="268360" y="17457"/>
              <a:ext cx="2762546" cy="54114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25400" tIns="25400" rIns="25400" bIns="25400" spcCol="1270" anchor="ctr"/>
            <a:lstStyle/>
            <a:p>
              <a:pPr defTabSz="8890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pt-BR" sz="2000" dirty="0"/>
                <a:t>Seção III – Dos novos investimentos ou serviços</a:t>
              </a:r>
            </a:p>
          </p:txBody>
        </p:sp>
      </p:grpSp>
      <p:sp>
        <p:nvSpPr>
          <p:cNvPr id="21" name="Title 1">
            <a:extLst>
              <a:ext uri="{FF2B5EF4-FFF2-40B4-BE49-F238E27FC236}">
                <a16:creationId xmlns:a16="http://schemas.microsoft.com/office/drawing/2014/main" id="{EEFCADCB-E995-49FE-897D-933C93BD5DA0}"/>
              </a:ext>
            </a:extLst>
          </p:cNvPr>
          <p:cNvSpPr txBox="1">
            <a:spLocks/>
          </p:cNvSpPr>
          <p:nvPr/>
        </p:nvSpPr>
        <p:spPr>
          <a:xfrm>
            <a:off x="2413000" y="116631"/>
            <a:ext cx="6426200" cy="1027881"/>
          </a:xfrm>
          <a:prstGeom prst="rect">
            <a:avLst/>
          </a:prstGeom>
        </p:spPr>
        <p:txBody>
          <a:bodyPr/>
          <a:lstStyle/>
          <a:p>
            <a:pPr algn="r" defTabSz="457200">
              <a:defRPr/>
            </a:pPr>
            <a:r>
              <a:rPr lang="pt-BR" sz="3000" b="1" dirty="0">
                <a:solidFill>
                  <a:srgbClr val="7F7F7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MS PGothic" pitchFamily="34" charset="-128"/>
                <a:cs typeface="+mn-cs"/>
              </a:rPr>
              <a:t>Análise</a:t>
            </a:r>
          </a:p>
          <a:p>
            <a:pPr algn="r" defTabSz="457200">
              <a:defRPr/>
            </a:pPr>
            <a:r>
              <a:rPr lang="pt-BR" dirty="0">
                <a:solidFill>
                  <a:srgbClr val="7F7F7F"/>
                </a:solidFill>
                <a:latin typeface="+mj-lt"/>
                <a:ea typeface="MS PGothic" pitchFamily="34" charset="-128"/>
                <a:cs typeface="+mn-cs"/>
              </a:rPr>
              <a:t>Pedido de revisão extraordinária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Espaço Reservado para Número de Slide 5">
            <a:extLst>
              <a:ext uri="{FF2B5EF4-FFF2-40B4-BE49-F238E27FC236}">
                <a16:creationId xmlns:a16="http://schemas.microsoft.com/office/drawing/2014/main" id="{FE126699-18E3-4B52-B772-9EE2EEA2ABFA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DF264B21-F758-4140-81D6-CECFB961065F}" type="slidenum">
              <a:rPr lang="en-US" altLang="pt-BR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buFontTx/>
                <a:buNone/>
              </a:pPr>
              <a:t>11</a:t>
            </a:fld>
            <a:endParaRPr lang="en-US" altLang="pt-BR" sz="1200">
              <a:solidFill>
                <a:schemeClr val="bg1"/>
              </a:solidFill>
            </a:endParaRPr>
          </a:p>
        </p:txBody>
      </p:sp>
      <p:sp>
        <p:nvSpPr>
          <p:cNvPr id="32771" name="TextBox 5">
            <a:extLst>
              <a:ext uri="{FF2B5EF4-FFF2-40B4-BE49-F238E27FC236}">
                <a16:creationId xmlns:a16="http://schemas.microsoft.com/office/drawing/2014/main" id="{C05FB3DE-EED9-48CC-BEF7-27AFF2087FE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7200" y="6505575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pt-BR" sz="1400">
                <a:solidFill>
                  <a:schemeClr val="bg1"/>
                </a:solidFill>
              </a:rPr>
              <a:t>Agência Nacional de Aviação Civil</a:t>
            </a:r>
          </a:p>
        </p:txBody>
      </p:sp>
      <p:grpSp>
        <p:nvGrpSpPr>
          <p:cNvPr id="8" name="Agrupar 7">
            <a:extLst>
              <a:ext uri="{FF2B5EF4-FFF2-40B4-BE49-F238E27FC236}">
                <a16:creationId xmlns:a16="http://schemas.microsoft.com/office/drawing/2014/main" id="{51C8EE0A-0929-43BA-9C4C-5B71B0487C23}"/>
              </a:ext>
            </a:extLst>
          </p:cNvPr>
          <p:cNvGrpSpPr/>
          <p:nvPr/>
        </p:nvGrpSpPr>
        <p:grpSpPr>
          <a:xfrm>
            <a:off x="337772" y="1420005"/>
            <a:ext cx="8458200" cy="656062"/>
            <a:chOff x="0" y="1562386"/>
            <a:chExt cx="8458200" cy="656062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9" name="Retângulo: Cantos Arredondados 8">
              <a:extLst>
                <a:ext uri="{FF2B5EF4-FFF2-40B4-BE49-F238E27FC236}">
                  <a16:creationId xmlns:a16="http://schemas.microsoft.com/office/drawing/2014/main" id="{49ADADB6-5640-4947-BE60-DEAA8B7009FE}"/>
                </a:ext>
              </a:extLst>
            </p:cNvPr>
            <p:cNvSpPr/>
            <p:nvPr/>
          </p:nvSpPr>
          <p:spPr>
            <a:xfrm>
              <a:off x="0" y="1562386"/>
              <a:ext cx="8458200" cy="656062"/>
            </a:xfrm>
            <a:prstGeom prst="roundRect">
              <a:avLst/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Retângulo: Cantos Arredondados 4">
              <a:extLst>
                <a:ext uri="{FF2B5EF4-FFF2-40B4-BE49-F238E27FC236}">
                  <a16:creationId xmlns:a16="http://schemas.microsoft.com/office/drawing/2014/main" id="{13565100-9894-4361-81CF-A1413844D80E}"/>
                </a:ext>
              </a:extLst>
            </p:cNvPr>
            <p:cNvSpPr txBox="1"/>
            <p:nvPr/>
          </p:nvSpPr>
          <p:spPr>
            <a:xfrm>
              <a:off x="32026" y="1594412"/>
              <a:ext cx="8394148" cy="592010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6200" tIns="76200" rIns="76200" bIns="76200" spcCol="1270" anchor="ctr"/>
            <a:lstStyle/>
            <a:p>
              <a:pPr defTabSz="889000" eaLnBrk="1" fontAlgn="auto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pt-BR" sz="2000" dirty="0"/>
                <a:t>Capítulo III – DO PEDIDO DE REVISÃO EXTRAORDINÁRIA</a:t>
              </a:r>
            </a:p>
          </p:txBody>
        </p:sp>
      </p:grpSp>
      <p:grpSp>
        <p:nvGrpSpPr>
          <p:cNvPr id="32774" name="Agrupar 14">
            <a:extLst>
              <a:ext uri="{FF2B5EF4-FFF2-40B4-BE49-F238E27FC236}">
                <a16:creationId xmlns:a16="http://schemas.microsoft.com/office/drawing/2014/main" id="{6C8A685F-9D13-4B73-920D-37D7BCFD77CC}"/>
              </a:ext>
            </a:extLst>
          </p:cNvPr>
          <p:cNvGrpSpPr>
            <a:grpSpLocks/>
          </p:cNvGrpSpPr>
          <p:nvPr/>
        </p:nvGrpSpPr>
        <p:grpSpPr bwMode="auto">
          <a:xfrm>
            <a:off x="338138" y="2273300"/>
            <a:ext cx="5026025" cy="576263"/>
            <a:chOff x="251526" y="0"/>
            <a:chExt cx="2796214" cy="576056"/>
          </a:xfrm>
        </p:grpSpPr>
        <p:sp>
          <p:nvSpPr>
            <p:cNvPr id="16" name="Retângulo: Cantos Arredondados 15">
              <a:extLst>
                <a:ext uri="{FF2B5EF4-FFF2-40B4-BE49-F238E27FC236}">
                  <a16:creationId xmlns:a16="http://schemas.microsoft.com/office/drawing/2014/main" id="{FFA33387-3088-4ABA-A903-5E5B492BAC01}"/>
                </a:ext>
              </a:extLst>
            </p:cNvPr>
            <p:cNvSpPr/>
            <p:nvPr/>
          </p:nvSpPr>
          <p:spPr>
            <a:xfrm rot="10800000" flipV="1">
              <a:off x="251526" y="0"/>
              <a:ext cx="2796214" cy="576056"/>
            </a:xfrm>
            <a:prstGeom prst="roundRect">
              <a:avLst>
                <a:gd name="adj" fmla="val 10000"/>
              </a:avLst>
            </a:prstGeom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shade val="50000"/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shade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" name="Retângulo: Cantos Arredondados 4">
              <a:extLst>
                <a:ext uri="{FF2B5EF4-FFF2-40B4-BE49-F238E27FC236}">
                  <a16:creationId xmlns:a16="http://schemas.microsoft.com/office/drawing/2014/main" id="{04227BDD-4700-4719-BF3D-739FD999D881}"/>
                </a:ext>
              </a:extLst>
            </p:cNvPr>
            <p:cNvSpPr txBox="1"/>
            <p:nvPr/>
          </p:nvSpPr>
          <p:spPr>
            <a:xfrm>
              <a:off x="268307" y="17457"/>
              <a:ext cx="2762652" cy="54114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25400" tIns="25400" rIns="25400" bIns="25400" spcCol="1270" anchor="ctr"/>
            <a:lstStyle/>
            <a:p>
              <a:pPr defTabSz="8890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pt-BR" sz="2000" dirty="0"/>
                <a:t>Seção I – Da instrução</a:t>
              </a:r>
            </a:p>
          </p:txBody>
        </p:sp>
      </p:grpSp>
      <p:graphicFrame>
        <p:nvGraphicFramePr>
          <p:cNvPr id="12" name="Diagrama 11">
            <a:extLst>
              <a:ext uri="{FF2B5EF4-FFF2-40B4-BE49-F238E27FC236}">
                <a16:creationId xmlns:a16="http://schemas.microsoft.com/office/drawing/2014/main" id="{8A3DB06E-656B-4003-9854-747FA09CF65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78725733"/>
              </p:ext>
            </p:extLst>
          </p:nvPr>
        </p:nvGraphicFramePr>
        <p:xfrm>
          <a:off x="337772" y="3109382"/>
          <a:ext cx="8208912" cy="22638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3" name="Title 1">
            <a:extLst>
              <a:ext uri="{FF2B5EF4-FFF2-40B4-BE49-F238E27FC236}">
                <a16:creationId xmlns:a16="http://schemas.microsoft.com/office/drawing/2014/main" id="{B2B49653-2CE1-47B7-89AB-CA03CD50402B}"/>
              </a:ext>
            </a:extLst>
          </p:cNvPr>
          <p:cNvSpPr txBox="1">
            <a:spLocks/>
          </p:cNvSpPr>
          <p:nvPr/>
        </p:nvSpPr>
        <p:spPr>
          <a:xfrm>
            <a:off x="2413000" y="116631"/>
            <a:ext cx="6426200" cy="1027881"/>
          </a:xfrm>
          <a:prstGeom prst="rect">
            <a:avLst/>
          </a:prstGeom>
        </p:spPr>
        <p:txBody>
          <a:bodyPr/>
          <a:lstStyle/>
          <a:p>
            <a:pPr algn="r" defTabSz="457200">
              <a:defRPr/>
            </a:pPr>
            <a:r>
              <a:rPr lang="pt-BR" sz="3000" b="1" dirty="0">
                <a:solidFill>
                  <a:srgbClr val="7F7F7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MS PGothic" pitchFamily="34" charset="-128"/>
                <a:cs typeface="+mn-cs"/>
              </a:rPr>
              <a:t>Análise</a:t>
            </a:r>
          </a:p>
          <a:p>
            <a:pPr algn="r" defTabSz="457200">
              <a:defRPr/>
            </a:pPr>
            <a:r>
              <a:rPr lang="pt-BR" dirty="0">
                <a:solidFill>
                  <a:srgbClr val="7F7F7F"/>
                </a:solidFill>
                <a:latin typeface="+mj-lt"/>
                <a:ea typeface="MS PGothic" pitchFamily="34" charset="-128"/>
                <a:cs typeface="+mn-cs"/>
              </a:rPr>
              <a:t>Pedido de revisão extraordinária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Espaço Reservado para Número de Slide 5">
            <a:extLst>
              <a:ext uri="{FF2B5EF4-FFF2-40B4-BE49-F238E27FC236}">
                <a16:creationId xmlns:a16="http://schemas.microsoft.com/office/drawing/2014/main" id="{FB39CE19-9E88-470F-9E66-148C375E131C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8718799E-2544-432E-A1DC-7FCCF1F6EF0C}" type="slidenum">
              <a:rPr lang="en-US" altLang="pt-BR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buFontTx/>
                <a:buNone/>
              </a:pPr>
              <a:t>12</a:t>
            </a:fld>
            <a:endParaRPr lang="en-US" altLang="pt-BR" sz="1200">
              <a:solidFill>
                <a:schemeClr val="bg1"/>
              </a:solidFill>
            </a:endParaRPr>
          </a:p>
        </p:txBody>
      </p:sp>
      <p:sp>
        <p:nvSpPr>
          <p:cNvPr id="47107" name="TextBox 5">
            <a:extLst>
              <a:ext uri="{FF2B5EF4-FFF2-40B4-BE49-F238E27FC236}">
                <a16:creationId xmlns:a16="http://schemas.microsoft.com/office/drawing/2014/main" id="{40384F03-4BCA-47E5-83B0-B008C853DC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7200" y="6505575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pt-BR" sz="1400">
                <a:solidFill>
                  <a:schemeClr val="bg1"/>
                </a:solidFill>
              </a:rPr>
              <a:t>Agência Nacional de Aviação Civil</a:t>
            </a:r>
          </a:p>
        </p:txBody>
      </p:sp>
      <p:graphicFrame>
        <p:nvGraphicFramePr>
          <p:cNvPr id="8" name="Diagrama 7">
            <a:extLst>
              <a:ext uri="{FF2B5EF4-FFF2-40B4-BE49-F238E27FC236}">
                <a16:creationId xmlns:a16="http://schemas.microsoft.com/office/drawing/2014/main" id="{C0C6DBC2-C062-428C-9CA8-107D9BC416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21736660"/>
              </p:ext>
            </p:extLst>
          </p:nvPr>
        </p:nvGraphicFramePr>
        <p:xfrm>
          <a:off x="323528" y="1177849"/>
          <a:ext cx="8496944" cy="49194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7E5FE933-E35C-4C07-BC3A-E9BDBBD56671}"/>
              </a:ext>
            </a:extLst>
          </p:cNvPr>
          <p:cNvSpPr txBox="1">
            <a:spLocks/>
          </p:cNvSpPr>
          <p:nvPr/>
        </p:nvSpPr>
        <p:spPr>
          <a:xfrm>
            <a:off x="2413000" y="116631"/>
            <a:ext cx="6426200" cy="1027881"/>
          </a:xfrm>
          <a:prstGeom prst="rect">
            <a:avLst/>
          </a:prstGeom>
        </p:spPr>
        <p:txBody>
          <a:bodyPr/>
          <a:lstStyle/>
          <a:p>
            <a:pPr algn="r" defTabSz="457200">
              <a:defRPr/>
            </a:pPr>
            <a:r>
              <a:rPr lang="pt-BR" sz="3000" b="1" dirty="0">
                <a:solidFill>
                  <a:srgbClr val="7F7F7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MS PGothic" pitchFamily="34" charset="-128"/>
                <a:cs typeface="+mn-cs"/>
              </a:rPr>
              <a:t>Análise</a:t>
            </a:r>
          </a:p>
          <a:p>
            <a:pPr algn="r" defTabSz="457200">
              <a:defRPr/>
            </a:pPr>
            <a:r>
              <a:rPr lang="pt-BR" dirty="0">
                <a:solidFill>
                  <a:srgbClr val="7F7F7F"/>
                </a:solidFill>
                <a:latin typeface="+mj-lt"/>
                <a:ea typeface="MS PGothic" pitchFamily="34" charset="-128"/>
                <a:cs typeface="+mn-cs"/>
              </a:rPr>
              <a:t>Pedido de revisão extraordinária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Espaço Reservado para Número de Slide 5">
            <a:extLst>
              <a:ext uri="{FF2B5EF4-FFF2-40B4-BE49-F238E27FC236}">
                <a16:creationId xmlns:a16="http://schemas.microsoft.com/office/drawing/2014/main" id="{29873323-4A01-4934-B655-A4C6CD92CCE4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48B75905-444E-4401-A9BF-410895FD4D45}" type="slidenum">
              <a:rPr lang="en-US" altLang="pt-BR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buFontTx/>
                <a:buNone/>
              </a:pPr>
              <a:t>13</a:t>
            </a:fld>
            <a:endParaRPr lang="en-US" altLang="pt-BR" sz="1200">
              <a:solidFill>
                <a:schemeClr val="bg1"/>
              </a:solidFill>
            </a:endParaRPr>
          </a:p>
        </p:txBody>
      </p:sp>
      <p:sp>
        <p:nvSpPr>
          <p:cNvPr id="34819" name="TextBox 5">
            <a:extLst>
              <a:ext uri="{FF2B5EF4-FFF2-40B4-BE49-F238E27FC236}">
                <a16:creationId xmlns:a16="http://schemas.microsoft.com/office/drawing/2014/main" id="{41097864-DA05-4547-811A-70A8BA4C006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7200" y="6505575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pt-BR" sz="1400">
                <a:solidFill>
                  <a:schemeClr val="bg1"/>
                </a:solidFill>
              </a:rPr>
              <a:t>Agência Nacional de Aviação Civil</a:t>
            </a:r>
          </a:p>
        </p:txBody>
      </p:sp>
      <p:grpSp>
        <p:nvGrpSpPr>
          <p:cNvPr id="8" name="Agrupar 7">
            <a:extLst>
              <a:ext uri="{FF2B5EF4-FFF2-40B4-BE49-F238E27FC236}">
                <a16:creationId xmlns:a16="http://schemas.microsoft.com/office/drawing/2014/main" id="{51C8EE0A-0929-43BA-9C4C-5B71B0487C23}"/>
              </a:ext>
            </a:extLst>
          </p:cNvPr>
          <p:cNvGrpSpPr/>
          <p:nvPr/>
        </p:nvGrpSpPr>
        <p:grpSpPr>
          <a:xfrm>
            <a:off x="337772" y="1420005"/>
            <a:ext cx="8458200" cy="656062"/>
            <a:chOff x="0" y="1562386"/>
            <a:chExt cx="8458200" cy="656062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9" name="Retângulo: Cantos Arredondados 8">
              <a:extLst>
                <a:ext uri="{FF2B5EF4-FFF2-40B4-BE49-F238E27FC236}">
                  <a16:creationId xmlns:a16="http://schemas.microsoft.com/office/drawing/2014/main" id="{49ADADB6-5640-4947-BE60-DEAA8B7009FE}"/>
                </a:ext>
              </a:extLst>
            </p:cNvPr>
            <p:cNvSpPr/>
            <p:nvPr/>
          </p:nvSpPr>
          <p:spPr>
            <a:xfrm>
              <a:off x="0" y="1562386"/>
              <a:ext cx="8458200" cy="656062"/>
            </a:xfrm>
            <a:prstGeom prst="roundRect">
              <a:avLst/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Retângulo: Cantos Arredondados 4">
              <a:extLst>
                <a:ext uri="{FF2B5EF4-FFF2-40B4-BE49-F238E27FC236}">
                  <a16:creationId xmlns:a16="http://schemas.microsoft.com/office/drawing/2014/main" id="{13565100-9894-4361-81CF-A1413844D80E}"/>
                </a:ext>
              </a:extLst>
            </p:cNvPr>
            <p:cNvSpPr txBox="1"/>
            <p:nvPr/>
          </p:nvSpPr>
          <p:spPr>
            <a:xfrm>
              <a:off x="32026" y="1594412"/>
              <a:ext cx="8394148" cy="592010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6200" tIns="76200" rIns="76200" bIns="76200" spcCol="1270" anchor="ctr"/>
            <a:lstStyle/>
            <a:p>
              <a:pPr defTabSz="889000" eaLnBrk="1" fontAlgn="auto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pt-BR" sz="2000" dirty="0"/>
                <a:t>Capítulo III – DO PEDIDO DE REVISÃO EXTRAORDINÁRIA</a:t>
              </a:r>
            </a:p>
          </p:txBody>
        </p:sp>
      </p:grpSp>
      <p:grpSp>
        <p:nvGrpSpPr>
          <p:cNvPr id="34822" name="Agrupar 14">
            <a:extLst>
              <a:ext uri="{FF2B5EF4-FFF2-40B4-BE49-F238E27FC236}">
                <a16:creationId xmlns:a16="http://schemas.microsoft.com/office/drawing/2014/main" id="{C4CC9EB3-5910-43F9-A41F-1EEECEF6B8D9}"/>
              </a:ext>
            </a:extLst>
          </p:cNvPr>
          <p:cNvGrpSpPr>
            <a:grpSpLocks/>
          </p:cNvGrpSpPr>
          <p:nvPr/>
        </p:nvGrpSpPr>
        <p:grpSpPr bwMode="auto">
          <a:xfrm>
            <a:off x="338138" y="2273300"/>
            <a:ext cx="5026025" cy="576263"/>
            <a:chOff x="251526" y="0"/>
            <a:chExt cx="2796214" cy="576056"/>
          </a:xfrm>
        </p:grpSpPr>
        <p:sp>
          <p:nvSpPr>
            <p:cNvPr id="16" name="Retângulo: Cantos Arredondados 15">
              <a:extLst>
                <a:ext uri="{FF2B5EF4-FFF2-40B4-BE49-F238E27FC236}">
                  <a16:creationId xmlns:a16="http://schemas.microsoft.com/office/drawing/2014/main" id="{FFA33387-3088-4ABA-A903-5E5B492BAC01}"/>
                </a:ext>
              </a:extLst>
            </p:cNvPr>
            <p:cNvSpPr/>
            <p:nvPr/>
          </p:nvSpPr>
          <p:spPr>
            <a:xfrm rot="10800000" flipV="1">
              <a:off x="251526" y="0"/>
              <a:ext cx="2796214" cy="576056"/>
            </a:xfrm>
            <a:prstGeom prst="roundRect">
              <a:avLst>
                <a:gd name="adj" fmla="val 10000"/>
              </a:avLst>
            </a:prstGeom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shade val="50000"/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shade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" name="Retângulo: Cantos Arredondados 4">
              <a:extLst>
                <a:ext uri="{FF2B5EF4-FFF2-40B4-BE49-F238E27FC236}">
                  <a16:creationId xmlns:a16="http://schemas.microsoft.com/office/drawing/2014/main" id="{04227BDD-4700-4719-BF3D-739FD999D881}"/>
                </a:ext>
              </a:extLst>
            </p:cNvPr>
            <p:cNvSpPr txBox="1"/>
            <p:nvPr/>
          </p:nvSpPr>
          <p:spPr>
            <a:xfrm>
              <a:off x="268307" y="17457"/>
              <a:ext cx="2762652" cy="54114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25400" tIns="25400" rIns="25400" bIns="25400" spcCol="1270" anchor="ctr"/>
            <a:lstStyle/>
            <a:p>
              <a:pPr defTabSz="8890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pt-BR" sz="2000" dirty="0"/>
                <a:t>Seção I – Da instrução</a:t>
              </a:r>
            </a:p>
          </p:txBody>
        </p:sp>
      </p:grpSp>
      <p:graphicFrame>
        <p:nvGraphicFramePr>
          <p:cNvPr id="12" name="Diagrama 11">
            <a:extLst>
              <a:ext uri="{FF2B5EF4-FFF2-40B4-BE49-F238E27FC236}">
                <a16:creationId xmlns:a16="http://schemas.microsoft.com/office/drawing/2014/main" id="{41F4AF3A-BEDE-4967-873D-B60804DE7A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67987586"/>
              </p:ext>
            </p:extLst>
          </p:nvPr>
        </p:nvGraphicFramePr>
        <p:xfrm>
          <a:off x="337772" y="3046796"/>
          <a:ext cx="8426174" cy="1534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3" name="Diagrama 12">
            <a:extLst>
              <a:ext uri="{FF2B5EF4-FFF2-40B4-BE49-F238E27FC236}">
                <a16:creationId xmlns:a16="http://schemas.microsoft.com/office/drawing/2014/main" id="{C71759CF-385F-4516-97BF-731ED9339F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74492929"/>
              </p:ext>
            </p:extLst>
          </p:nvPr>
        </p:nvGraphicFramePr>
        <p:xfrm>
          <a:off x="337772" y="4567646"/>
          <a:ext cx="8426174" cy="17207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F7C46E4E-1408-4FE1-862A-17DB6EF88627}"/>
              </a:ext>
            </a:extLst>
          </p:cNvPr>
          <p:cNvSpPr txBox="1">
            <a:spLocks/>
          </p:cNvSpPr>
          <p:nvPr/>
        </p:nvSpPr>
        <p:spPr>
          <a:xfrm>
            <a:off x="2413000" y="116631"/>
            <a:ext cx="6426200" cy="1027881"/>
          </a:xfrm>
          <a:prstGeom prst="rect">
            <a:avLst/>
          </a:prstGeom>
        </p:spPr>
        <p:txBody>
          <a:bodyPr/>
          <a:lstStyle/>
          <a:p>
            <a:pPr algn="r" defTabSz="457200">
              <a:defRPr/>
            </a:pPr>
            <a:r>
              <a:rPr lang="pt-BR" sz="3000" b="1" dirty="0">
                <a:solidFill>
                  <a:srgbClr val="7F7F7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MS PGothic" pitchFamily="34" charset="-128"/>
                <a:cs typeface="+mn-cs"/>
              </a:rPr>
              <a:t>Análise</a:t>
            </a:r>
          </a:p>
          <a:p>
            <a:pPr algn="r" defTabSz="457200">
              <a:defRPr/>
            </a:pPr>
            <a:r>
              <a:rPr lang="pt-BR" dirty="0">
                <a:solidFill>
                  <a:srgbClr val="7F7F7F"/>
                </a:solidFill>
                <a:latin typeface="+mj-lt"/>
                <a:ea typeface="MS PGothic" pitchFamily="34" charset="-128"/>
                <a:cs typeface="+mn-cs"/>
              </a:rPr>
              <a:t>Pedido de revisão extraordinária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Espaço Reservado para Número de Slide 5">
            <a:extLst>
              <a:ext uri="{FF2B5EF4-FFF2-40B4-BE49-F238E27FC236}">
                <a16:creationId xmlns:a16="http://schemas.microsoft.com/office/drawing/2014/main" id="{FB39CE19-9E88-470F-9E66-148C375E131C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8718799E-2544-432E-A1DC-7FCCF1F6EF0C}" type="slidenum">
              <a:rPr lang="en-US" altLang="pt-BR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buFontTx/>
                <a:buNone/>
              </a:pPr>
              <a:t>14</a:t>
            </a:fld>
            <a:endParaRPr lang="en-US" altLang="pt-BR" sz="1200">
              <a:solidFill>
                <a:schemeClr val="bg1"/>
              </a:solidFill>
            </a:endParaRPr>
          </a:p>
        </p:txBody>
      </p:sp>
      <p:sp>
        <p:nvSpPr>
          <p:cNvPr id="47107" name="TextBox 5">
            <a:extLst>
              <a:ext uri="{FF2B5EF4-FFF2-40B4-BE49-F238E27FC236}">
                <a16:creationId xmlns:a16="http://schemas.microsoft.com/office/drawing/2014/main" id="{40384F03-4BCA-47E5-83B0-B008C853DC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7200" y="6505575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pt-BR" sz="1400">
                <a:solidFill>
                  <a:schemeClr val="bg1"/>
                </a:solidFill>
              </a:rPr>
              <a:t>Agência Nacional de Aviação Civil</a:t>
            </a:r>
          </a:p>
        </p:txBody>
      </p:sp>
      <p:graphicFrame>
        <p:nvGraphicFramePr>
          <p:cNvPr id="8" name="Diagrama 7">
            <a:extLst>
              <a:ext uri="{FF2B5EF4-FFF2-40B4-BE49-F238E27FC236}">
                <a16:creationId xmlns:a16="http://schemas.microsoft.com/office/drawing/2014/main" id="{C0C6DBC2-C062-428C-9CA8-107D9BC416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55621472"/>
              </p:ext>
            </p:extLst>
          </p:nvPr>
        </p:nvGraphicFramePr>
        <p:xfrm>
          <a:off x="323528" y="1560799"/>
          <a:ext cx="8496944" cy="45365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D9DC446C-688E-492F-A191-13861A57CB9A}"/>
              </a:ext>
            </a:extLst>
          </p:cNvPr>
          <p:cNvSpPr txBox="1">
            <a:spLocks/>
          </p:cNvSpPr>
          <p:nvPr/>
        </p:nvSpPr>
        <p:spPr>
          <a:xfrm>
            <a:off x="2413000" y="116631"/>
            <a:ext cx="6426200" cy="1027881"/>
          </a:xfrm>
          <a:prstGeom prst="rect">
            <a:avLst/>
          </a:prstGeom>
        </p:spPr>
        <p:txBody>
          <a:bodyPr/>
          <a:lstStyle/>
          <a:p>
            <a:pPr algn="r" defTabSz="457200">
              <a:defRPr/>
            </a:pPr>
            <a:r>
              <a:rPr lang="pt-BR" sz="3000" b="1" dirty="0">
                <a:solidFill>
                  <a:srgbClr val="7F7F7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MS PGothic" pitchFamily="34" charset="-128"/>
                <a:cs typeface="+mn-cs"/>
              </a:rPr>
              <a:t>Análise</a:t>
            </a:r>
          </a:p>
          <a:p>
            <a:pPr algn="r" defTabSz="457200">
              <a:defRPr/>
            </a:pPr>
            <a:r>
              <a:rPr lang="pt-BR" dirty="0">
                <a:solidFill>
                  <a:srgbClr val="7F7F7F"/>
                </a:solidFill>
                <a:latin typeface="+mj-lt"/>
                <a:ea typeface="MS PGothic" pitchFamily="34" charset="-128"/>
                <a:cs typeface="+mn-cs"/>
              </a:rPr>
              <a:t>Pedido de revisão extraordinária</a:t>
            </a:r>
          </a:p>
        </p:txBody>
      </p:sp>
    </p:spTree>
    <p:extLst>
      <p:ext uri="{BB962C8B-B14F-4D97-AF65-F5344CB8AC3E}">
        <p14:creationId xmlns:p14="http://schemas.microsoft.com/office/powerpoint/2010/main" val="424354038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Espaço Reservado para Número de Slide 5">
            <a:extLst>
              <a:ext uri="{FF2B5EF4-FFF2-40B4-BE49-F238E27FC236}">
                <a16:creationId xmlns:a16="http://schemas.microsoft.com/office/drawing/2014/main" id="{1292FEDD-EC3E-4CAC-B7B7-CF8EF15BBE3F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0CBD75BC-DC75-4ED0-AD76-8036D03EC115}" type="slidenum">
              <a:rPr lang="en-US" altLang="pt-BR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buFontTx/>
                <a:buNone/>
              </a:pPr>
              <a:t>15</a:t>
            </a:fld>
            <a:endParaRPr lang="en-US" altLang="pt-BR" sz="1200">
              <a:solidFill>
                <a:schemeClr val="bg1"/>
              </a:solidFill>
            </a:endParaRPr>
          </a:p>
        </p:txBody>
      </p:sp>
      <p:sp>
        <p:nvSpPr>
          <p:cNvPr id="36867" name="TextBox 5">
            <a:extLst>
              <a:ext uri="{FF2B5EF4-FFF2-40B4-BE49-F238E27FC236}">
                <a16:creationId xmlns:a16="http://schemas.microsoft.com/office/drawing/2014/main" id="{E2CF2114-FE25-4754-9328-0A51EE0FB57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7200" y="6505575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pt-BR" sz="1400">
                <a:solidFill>
                  <a:schemeClr val="bg1"/>
                </a:solidFill>
              </a:rPr>
              <a:t>Agência Nacional de Aviação Civil</a:t>
            </a:r>
          </a:p>
        </p:txBody>
      </p:sp>
      <p:grpSp>
        <p:nvGrpSpPr>
          <p:cNvPr id="8" name="Agrupar 7">
            <a:extLst>
              <a:ext uri="{FF2B5EF4-FFF2-40B4-BE49-F238E27FC236}">
                <a16:creationId xmlns:a16="http://schemas.microsoft.com/office/drawing/2014/main" id="{51C8EE0A-0929-43BA-9C4C-5B71B0487C23}"/>
              </a:ext>
            </a:extLst>
          </p:cNvPr>
          <p:cNvGrpSpPr/>
          <p:nvPr/>
        </p:nvGrpSpPr>
        <p:grpSpPr>
          <a:xfrm>
            <a:off x="337772" y="1420005"/>
            <a:ext cx="8458200" cy="656062"/>
            <a:chOff x="0" y="1562386"/>
            <a:chExt cx="8458200" cy="656062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9" name="Retângulo: Cantos Arredondados 8">
              <a:extLst>
                <a:ext uri="{FF2B5EF4-FFF2-40B4-BE49-F238E27FC236}">
                  <a16:creationId xmlns:a16="http://schemas.microsoft.com/office/drawing/2014/main" id="{49ADADB6-5640-4947-BE60-DEAA8B7009FE}"/>
                </a:ext>
              </a:extLst>
            </p:cNvPr>
            <p:cNvSpPr/>
            <p:nvPr/>
          </p:nvSpPr>
          <p:spPr>
            <a:xfrm>
              <a:off x="0" y="1562386"/>
              <a:ext cx="8458200" cy="656062"/>
            </a:xfrm>
            <a:prstGeom prst="roundRect">
              <a:avLst/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Retângulo: Cantos Arredondados 4">
              <a:extLst>
                <a:ext uri="{FF2B5EF4-FFF2-40B4-BE49-F238E27FC236}">
                  <a16:creationId xmlns:a16="http://schemas.microsoft.com/office/drawing/2014/main" id="{13565100-9894-4361-81CF-A1413844D80E}"/>
                </a:ext>
              </a:extLst>
            </p:cNvPr>
            <p:cNvSpPr txBox="1"/>
            <p:nvPr/>
          </p:nvSpPr>
          <p:spPr>
            <a:xfrm>
              <a:off x="32026" y="1594412"/>
              <a:ext cx="8394148" cy="592010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6200" tIns="76200" rIns="76200" bIns="76200" spcCol="1270" anchor="ctr"/>
            <a:lstStyle/>
            <a:p>
              <a:pPr defTabSz="889000" eaLnBrk="1" fontAlgn="auto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pt-BR" sz="2000" dirty="0"/>
                <a:t>Capítulo III – DO PEDIDO DE REVISÃO EXTRAORDINÁRIA</a:t>
              </a:r>
            </a:p>
          </p:txBody>
        </p:sp>
      </p:grpSp>
      <p:grpSp>
        <p:nvGrpSpPr>
          <p:cNvPr id="36870" name="Agrupar 14">
            <a:extLst>
              <a:ext uri="{FF2B5EF4-FFF2-40B4-BE49-F238E27FC236}">
                <a16:creationId xmlns:a16="http://schemas.microsoft.com/office/drawing/2014/main" id="{C111A34F-0540-4BC6-946C-38A0AA1DBEE9}"/>
              </a:ext>
            </a:extLst>
          </p:cNvPr>
          <p:cNvGrpSpPr>
            <a:grpSpLocks/>
          </p:cNvGrpSpPr>
          <p:nvPr/>
        </p:nvGrpSpPr>
        <p:grpSpPr bwMode="auto">
          <a:xfrm>
            <a:off x="338138" y="2273300"/>
            <a:ext cx="5026025" cy="576263"/>
            <a:chOff x="251526" y="0"/>
            <a:chExt cx="2796214" cy="576056"/>
          </a:xfrm>
        </p:grpSpPr>
        <p:sp>
          <p:nvSpPr>
            <p:cNvPr id="16" name="Retângulo: Cantos Arredondados 15">
              <a:extLst>
                <a:ext uri="{FF2B5EF4-FFF2-40B4-BE49-F238E27FC236}">
                  <a16:creationId xmlns:a16="http://schemas.microsoft.com/office/drawing/2014/main" id="{FFA33387-3088-4ABA-A903-5E5B492BAC01}"/>
                </a:ext>
              </a:extLst>
            </p:cNvPr>
            <p:cNvSpPr/>
            <p:nvPr/>
          </p:nvSpPr>
          <p:spPr>
            <a:xfrm rot="10800000" flipV="1">
              <a:off x="251526" y="0"/>
              <a:ext cx="2796214" cy="576056"/>
            </a:xfrm>
            <a:prstGeom prst="roundRect">
              <a:avLst>
                <a:gd name="adj" fmla="val 10000"/>
              </a:avLst>
            </a:prstGeom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shade val="50000"/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shade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" name="Retângulo: Cantos Arredondados 4">
              <a:extLst>
                <a:ext uri="{FF2B5EF4-FFF2-40B4-BE49-F238E27FC236}">
                  <a16:creationId xmlns:a16="http://schemas.microsoft.com/office/drawing/2014/main" id="{04227BDD-4700-4719-BF3D-739FD999D881}"/>
                </a:ext>
              </a:extLst>
            </p:cNvPr>
            <p:cNvSpPr txBox="1"/>
            <p:nvPr/>
          </p:nvSpPr>
          <p:spPr>
            <a:xfrm>
              <a:off x="268307" y="17457"/>
              <a:ext cx="2762652" cy="54114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25400" tIns="25400" rIns="25400" bIns="25400" spcCol="1270" anchor="ctr"/>
            <a:lstStyle/>
            <a:p>
              <a:pPr defTabSz="8890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pt-BR" sz="2000" dirty="0"/>
                <a:t>Seção II – Da análise</a:t>
              </a:r>
            </a:p>
          </p:txBody>
        </p:sp>
      </p:grpSp>
      <p:graphicFrame>
        <p:nvGraphicFramePr>
          <p:cNvPr id="13" name="Diagrama 12">
            <a:extLst>
              <a:ext uri="{FF2B5EF4-FFF2-40B4-BE49-F238E27FC236}">
                <a16:creationId xmlns:a16="http://schemas.microsoft.com/office/drawing/2014/main" id="{63C8CF8D-9B38-4417-B290-4356B030BDE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4246010"/>
              </p:ext>
            </p:extLst>
          </p:nvPr>
        </p:nvGraphicFramePr>
        <p:xfrm>
          <a:off x="107504" y="3124887"/>
          <a:ext cx="4896544" cy="8442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14" name="Conector: Angulado 13">
            <a:extLst>
              <a:ext uri="{FF2B5EF4-FFF2-40B4-BE49-F238E27FC236}">
                <a16:creationId xmlns:a16="http://schemas.microsoft.com/office/drawing/2014/main" id="{58527177-F980-4CEA-9D33-9CC5C6FE1AB6}"/>
              </a:ext>
            </a:extLst>
          </p:cNvPr>
          <p:cNvCxnSpPr/>
          <p:nvPr/>
        </p:nvCxnSpPr>
        <p:spPr>
          <a:xfrm>
            <a:off x="1547664" y="4028130"/>
            <a:ext cx="576262" cy="387350"/>
          </a:xfrm>
          <a:prstGeom prst="bentConnector3">
            <a:avLst>
              <a:gd name="adj1" fmla="val 2011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8" name="Diagrama 17">
            <a:extLst>
              <a:ext uri="{FF2B5EF4-FFF2-40B4-BE49-F238E27FC236}">
                <a16:creationId xmlns:a16="http://schemas.microsoft.com/office/drawing/2014/main" id="{A6E4567D-2375-4608-8276-D6FD71F14F8E}"/>
              </a:ext>
            </a:extLst>
          </p:cNvPr>
          <p:cNvGraphicFramePr/>
          <p:nvPr>
            <p:extLst/>
          </p:nvPr>
        </p:nvGraphicFramePr>
        <p:xfrm>
          <a:off x="2411760" y="4022545"/>
          <a:ext cx="3759888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cxnSp>
        <p:nvCxnSpPr>
          <p:cNvPr id="15" name="Conector: Angulado 14">
            <a:extLst>
              <a:ext uri="{FF2B5EF4-FFF2-40B4-BE49-F238E27FC236}">
                <a16:creationId xmlns:a16="http://schemas.microsoft.com/office/drawing/2014/main" id="{0EA3D670-7AAC-4192-A3E9-629C1951D142}"/>
              </a:ext>
            </a:extLst>
          </p:cNvPr>
          <p:cNvCxnSpPr/>
          <p:nvPr/>
        </p:nvCxnSpPr>
        <p:spPr>
          <a:xfrm>
            <a:off x="3990610" y="5174872"/>
            <a:ext cx="576262" cy="387350"/>
          </a:xfrm>
          <a:prstGeom prst="bentConnector3">
            <a:avLst>
              <a:gd name="adj1" fmla="val 2011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0" name="Diagrama 19">
            <a:extLst>
              <a:ext uri="{FF2B5EF4-FFF2-40B4-BE49-F238E27FC236}">
                <a16:creationId xmlns:a16="http://schemas.microsoft.com/office/drawing/2014/main" id="{D5CBDA53-4316-4DC5-AEA2-E1ED4155EC3C}"/>
              </a:ext>
            </a:extLst>
          </p:cNvPr>
          <p:cNvGraphicFramePr/>
          <p:nvPr>
            <p:extLst/>
          </p:nvPr>
        </p:nvGraphicFramePr>
        <p:xfrm>
          <a:off x="5105834" y="5640283"/>
          <a:ext cx="2894732" cy="6560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21" name="Diagrama 20">
            <a:extLst>
              <a:ext uri="{FF2B5EF4-FFF2-40B4-BE49-F238E27FC236}">
                <a16:creationId xmlns:a16="http://schemas.microsoft.com/office/drawing/2014/main" id="{14C62823-B725-4CD4-A6AE-B40CE2E0E6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65748454"/>
              </p:ext>
            </p:extLst>
          </p:nvPr>
        </p:nvGraphicFramePr>
        <p:xfrm>
          <a:off x="5105834" y="4918517"/>
          <a:ext cx="2894732" cy="13778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sp>
        <p:nvSpPr>
          <p:cNvPr id="22" name="Title 1">
            <a:extLst>
              <a:ext uri="{FF2B5EF4-FFF2-40B4-BE49-F238E27FC236}">
                <a16:creationId xmlns:a16="http://schemas.microsoft.com/office/drawing/2014/main" id="{83A6F08C-5EC9-411E-B6C5-DE0A1072D2A4}"/>
              </a:ext>
            </a:extLst>
          </p:cNvPr>
          <p:cNvSpPr txBox="1">
            <a:spLocks/>
          </p:cNvSpPr>
          <p:nvPr/>
        </p:nvSpPr>
        <p:spPr>
          <a:xfrm>
            <a:off x="2413000" y="116631"/>
            <a:ext cx="6426200" cy="1027881"/>
          </a:xfrm>
          <a:prstGeom prst="rect">
            <a:avLst/>
          </a:prstGeom>
        </p:spPr>
        <p:txBody>
          <a:bodyPr/>
          <a:lstStyle/>
          <a:p>
            <a:pPr algn="r" defTabSz="457200">
              <a:defRPr/>
            </a:pPr>
            <a:r>
              <a:rPr lang="pt-BR" sz="3000" b="1" dirty="0">
                <a:solidFill>
                  <a:srgbClr val="7F7F7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MS PGothic" pitchFamily="34" charset="-128"/>
                <a:cs typeface="+mn-cs"/>
              </a:rPr>
              <a:t>Análise</a:t>
            </a:r>
          </a:p>
          <a:p>
            <a:pPr algn="r" defTabSz="457200">
              <a:defRPr/>
            </a:pPr>
            <a:r>
              <a:rPr lang="pt-BR" dirty="0">
                <a:solidFill>
                  <a:srgbClr val="7F7F7F"/>
                </a:solidFill>
                <a:latin typeface="+mj-lt"/>
                <a:ea typeface="MS PGothic" pitchFamily="34" charset="-128"/>
                <a:cs typeface="+mn-cs"/>
              </a:rPr>
              <a:t>Pedido de revisão extraordinária</a:t>
            </a:r>
          </a:p>
        </p:txBody>
      </p:sp>
    </p:spTree>
    <p:extLst>
      <p:ext uri="{BB962C8B-B14F-4D97-AF65-F5344CB8AC3E}">
        <p14:creationId xmlns:p14="http://schemas.microsoft.com/office/powerpoint/2010/main" val="275419994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Espaço Reservado para Número de Slide 5">
            <a:extLst>
              <a:ext uri="{FF2B5EF4-FFF2-40B4-BE49-F238E27FC236}">
                <a16:creationId xmlns:a16="http://schemas.microsoft.com/office/drawing/2014/main" id="{FB39CE19-9E88-470F-9E66-148C375E131C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8718799E-2544-432E-A1DC-7FCCF1F6EF0C}" type="slidenum">
              <a:rPr lang="en-US" altLang="pt-BR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buFontTx/>
                <a:buNone/>
              </a:pPr>
              <a:t>16</a:t>
            </a:fld>
            <a:endParaRPr lang="en-US" altLang="pt-BR" sz="1200">
              <a:solidFill>
                <a:schemeClr val="bg1"/>
              </a:solidFill>
            </a:endParaRPr>
          </a:p>
        </p:txBody>
      </p:sp>
      <p:sp>
        <p:nvSpPr>
          <p:cNvPr id="47107" name="TextBox 5">
            <a:extLst>
              <a:ext uri="{FF2B5EF4-FFF2-40B4-BE49-F238E27FC236}">
                <a16:creationId xmlns:a16="http://schemas.microsoft.com/office/drawing/2014/main" id="{40384F03-4BCA-47E5-83B0-B008C853DC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7200" y="6505575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pt-BR" sz="1400">
                <a:solidFill>
                  <a:schemeClr val="bg1"/>
                </a:solidFill>
              </a:rPr>
              <a:t>Agência Nacional de Aviação Civil</a:t>
            </a:r>
          </a:p>
        </p:txBody>
      </p:sp>
      <p:graphicFrame>
        <p:nvGraphicFramePr>
          <p:cNvPr id="8" name="Diagrama 7">
            <a:extLst>
              <a:ext uri="{FF2B5EF4-FFF2-40B4-BE49-F238E27FC236}">
                <a16:creationId xmlns:a16="http://schemas.microsoft.com/office/drawing/2014/main" id="{C0C6DBC2-C062-428C-9CA8-107D9BC416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52817923"/>
              </p:ext>
            </p:extLst>
          </p:nvPr>
        </p:nvGraphicFramePr>
        <p:xfrm>
          <a:off x="323528" y="2064855"/>
          <a:ext cx="8496944" cy="31643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E79DCD6F-2D94-4D63-8122-47F354156B21}"/>
              </a:ext>
            </a:extLst>
          </p:cNvPr>
          <p:cNvSpPr txBox="1">
            <a:spLocks/>
          </p:cNvSpPr>
          <p:nvPr/>
        </p:nvSpPr>
        <p:spPr>
          <a:xfrm>
            <a:off x="2413000" y="116631"/>
            <a:ext cx="6426200" cy="1027881"/>
          </a:xfrm>
          <a:prstGeom prst="rect">
            <a:avLst/>
          </a:prstGeom>
        </p:spPr>
        <p:txBody>
          <a:bodyPr/>
          <a:lstStyle/>
          <a:p>
            <a:pPr algn="r" defTabSz="457200">
              <a:defRPr/>
            </a:pPr>
            <a:r>
              <a:rPr lang="pt-BR" sz="3000" b="1" dirty="0">
                <a:solidFill>
                  <a:srgbClr val="7F7F7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MS PGothic" pitchFamily="34" charset="-128"/>
                <a:cs typeface="+mn-cs"/>
              </a:rPr>
              <a:t>Análise</a:t>
            </a:r>
          </a:p>
          <a:p>
            <a:pPr algn="r" defTabSz="457200">
              <a:defRPr/>
            </a:pPr>
            <a:r>
              <a:rPr lang="pt-BR" dirty="0">
                <a:solidFill>
                  <a:srgbClr val="7F7F7F"/>
                </a:solidFill>
                <a:latin typeface="+mj-lt"/>
                <a:ea typeface="MS PGothic" pitchFamily="34" charset="-128"/>
                <a:cs typeface="+mn-cs"/>
              </a:rPr>
              <a:t>Pedido de revisão extraordinária</a:t>
            </a:r>
          </a:p>
        </p:txBody>
      </p:sp>
    </p:spTree>
    <p:extLst>
      <p:ext uri="{BB962C8B-B14F-4D97-AF65-F5344CB8AC3E}">
        <p14:creationId xmlns:p14="http://schemas.microsoft.com/office/powerpoint/2010/main" val="12820643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Espaço Reservado para Número de Slide 5">
            <a:extLst>
              <a:ext uri="{FF2B5EF4-FFF2-40B4-BE49-F238E27FC236}">
                <a16:creationId xmlns:a16="http://schemas.microsoft.com/office/drawing/2014/main" id="{1292FEDD-EC3E-4CAC-B7B7-CF8EF15BBE3F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0CBD75BC-DC75-4ED0-AD76-8036D03EC115}" type="slidenum">
              <a:rPr lang="en-US" altLang="pt-BR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buFontTx/>
                <a:buNone/>
              </a:pPr>
              <a:t>17</a:t>
            </a:fld>
            <a:endParaRPr lang="en-US" altLang="pt-BR" sz="1200">
              <a:solidFill>
                <a:schemeClr val="bg1"/>
              </a:solidFill>
            </a:endParaRPr>
          </a:p>
        </p:txBody>
      </p:sp>
      <p:sp>
        <p:nvSpPr>
          <p:cNvPr id="36867" name="TextBox 5">
            <a:extLst>
              <a:ext uri="{FF2B5EF4-FFF2-40B4-BE49-F238E27FC236}">
                <a16:creationId xmlns:a16="http://schemas.microsoft.com/office/drawing/2014/main" id="{E2CF2114-FE25-4754-9328-0A51EE0FB57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7200" y="6505575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pt-BR" sz="1400">
                <a:solidFill>
                  <a:schemeClr val="bg1"/>
                </a:solidFill>
              </a:rPr>
              <a:t>Agência Nacional de Aviação Civil</a:t>
            </a:r>
          </a:p>
        </p:txBody>
      </p:sp>
      <p:grpSp>
        <p:nvGrpSpPr>
          <p:cNvPr id="8" name="Agrupar 7">
            <a:extLst>
              <a:ext uri="{FF2B5EF4-FFF2-40B4-BE49-F238E27FC236}">
                <a16:creationId xmlns:a16="http://schemas.microsoft.com/office/drawing/2014/main" id="{51C8EE0A-0929-43BA-9C4C-5B71B0487C23}"/>
              </a:ext>
            </a:extLst>
          </p:cNvPr>
          <p:cNvGrpSpPr/>
          <p:nvPr/>
        </p:nvGrpSpPr>
        <p:grpSpPr>
          <a:xfrm>
            <a:off x="337772" y="1420005"/>
            <a:ext cx="8458200" cy="656062"/>
            <a:chOff x="0" y="1562386"/>
            <a:chExt cx="8458200" cy="656062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9" name="Retângulo: Cantos Arredondados 8">
              <a:extLst>
                <a:ext uri="{FF2B5EF4-FFF2-40B4-BE49-F238E27FC236}">
                  <a16:creationId xmlns:a16="http://schemas.microsoft.com/office/drawing/2014/main" id="{49ADADB6-5640-4947-BE60-DEAA8B7009FE}"/>
                </a:ext>
              </a:extLst>
            </p:cNvPr>
            <p:cNvSpPr/>
            <p:nvPr/>
          </p:nvSpPr>
          <p:spPr>
            <a:xfrm>
              <a:off x="0" y="1562386"/>
              <a:ext cx="8458200" cy="656062"/>
            </a:xfrm>
            <a:prstGeom prst="roundRect">
              <a:avLst/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Retângulo: Cantos Arredondados 4">
              <a:extLst>
                <a:ext uri="{FF2B5EF4-FFF2-40B4-BE49-F238E27FC236}">
                  <a16:creationId xmlns:a16="http://schemas.microsoft.com/office/drawing/2014/main" id="{13565100-9894-4361-81CF-A1413844D80E}"/>
                </a:ext>
              </a:extLst>
            </p:cNvPr>
            <p:cNvSpPr txBox="1"/>
            <p:nvPr/>
          </p:nvSpPr>
          <p:spPr>
            <a:xfrm>
              <a:off x="32026" y="1594412"/>
              <a:ext cx="8394148" cy="592010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6200" tIns="76200" rIns="76200" bIns="76200" spcCol="1270" anchor="ctr"/>
            <a:lstStyle/>
            <a:p>
              <a:pPr defTabSz="889000" eaLnBrk="1" fontAlgn="auto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pt-BR" sz="2000" dirty="0"/>
                <a:t>Capítulo III – DO PEDIDO DE REVISÃO EXTRAORDINÁRIA</a:t>
              </a:r>
            </a:p>
          </p:txBody>
        </p:sp>
      </p:grpSp>
      <p:grpSp>
        <p:nvGrpSpPr>
          <p:cNvPr id="36870" name="Agrupar 14">
            <a:extLst>
              <a:ext uri="{FF2B5EF4-FFF2-40B4-BE49-F238E27FC236}">
                <a16:creationId xmlns:a16="http://schemas.microsoft.com/office/drawing/2014/main" id="{C111A34F-0540-4BC6-946C-38A0AA1DBEE9}"/>
              </a:ext>
            </a:extLst>
          </p:cNvPr>
          <p:cNvGrpSpPr>
            <a:grpSpLocks/>
          </p:cNvGrpSpPr>
          <p:nvPr/>
        </p:nvGrpSpPr>
        <p:grpSpPr bwMode="auto">
          <a:xfrm>
            <a:off x="338138" y="2273300"/>
            <a:ext cx="5026025" cy="576263"/>
            <a:chOff x="251526" y="0"/>
            <a:chExt cx="2796214" cy="576056"/>
          </a:xfrm>
        </p:grpSpPr>
        <p:sp>
          <p:nvSpPr>
            <p:cNvPr id="16" name="Retângulo: Cantos Arredondados 15">
              <a:extLst>
                <a:ext uri="{FF2B5EF4-FFF2-40B4-BE49-F238E27FC236}">
                  <a16:creationId xmlns:a16="http://schemas.microsoft.com/office/drawing/2014/main" id="{FFA33387-3088-4ABA-A903-5E5B492BAC01}"/>
                </a:ext>
              </a:extLst>
            </p:cNvPr>
            <p:cNvSpPr/>
            <p:nvPr/>
          </p:nvSpPr>
          <p:spPr>
            <a:xfrm rot="10800000" flipV="1">
              <a:off x="251526" y="0"/>
              <a:ext cx="2796214" cy="576056"/>
            </a:xfrm>
            <a:prstGeom prst="roundRect">
              <a:avLst>
                <a:gd name="adj" fmla="val 10000"/>
              </a:avLst>
            </a:prstGeom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shade val="50000"/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shade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" name="Retângulo: Cantos Arredondados 4">
              <a:extLst>
                <a:ext uri="{FF2B5EF4-FFF2-40B4-BE49-F238E27FC236}">
                  <a16:creationId xmlns:a16="http://schemas.microsoft.com/office/drawing/2014/main" id="{04227BDD-4700-4719-BF3D-739FD999D881}"/>
                </a:ext>
              </a:extLst>
            </p:cNvPr>
            <p:cNvSpPr txBox="1"/>
            <p:nvPr/>
          </p:nvSpPr>
          <p:spPr>
            <a:xfrm>
              <a:off x="268307" y="17457"/>
              <a:ext cx="2762652" cy="54114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25400" tIns="25400" rIns="25400" bIns="25400" spcCol="1270" anchor="ctr"/>
            <a:lstStyle/>
            <a:p>
              <a:pPr defTabSz="8890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pt-BR" sz="2000" dirty="0"/>
                <a:t>Seção II – Da análise</a:t>
              </a:r>
            </a:p>
          </p:txBody>
        </p:sp>
      </p:grpSp>
      <p:graphicFrame>
        <p:nvGraphicFramePr>
          <p:cNvPr id="13" name="Diagrama 12">
            <a:extLst>
              <a:ext uri="{FF2B5EF4-FFF2-40B4-BE49-F238E27FC236}">
                <a16:creationId xmlns:a16="http://schemas.microsoft.com/office/drawing/2014/main" id="{63C8CF8D-9B38-4417-B290-4356B030BDE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44194953"/>
              </p:ext>
            </p:extLst>
          </p:nvPr>
        </p:nvGraphicFramePr>
        <p:xfrm>
          <a:off x="337771" y="2908536"/>
          <a:ext cx="4090213" cy="8844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14" name="Conector: Angulado 13">
            <a:extLst>
              <a:ext uri="{FF2B5EF4-FFF2-40B4-BE49-F238E27FC236}">
                <a16:creationId xmlns:a16="http://schemas.microsoft.com/office/drawing/2014/main" id="{58527177-F980-4CEA-9D33-9CC5C6FE1AB6}"/>
              </a:ext>
            </a:extLst>
          </p:cNvPr>
          <p:cNvCxnSpPr/>
          <p:nvPr/>
        </p:nvCxnSpPr>
        <p:spPr>
          <a:xfrm>
            <a:off x="1201769" y="3832235"/>
            <a:ext cx="576262" cy="387350"/>
          </a:xfrm>
          <a:prstGeom prst="bentConnector3">
            <a:avLst>
              <a:gd name="adj1" fmla="val 2011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8" name="Diagrama 17">
            <a:extLst>
              <a:ext uri="{FF2B5EF4-FFF2-40B4-BE49-F238E27FC236}">
                <a16:creationId xmlns:a16="http://schemas.microsoft.com/office/drawing/2014/main" id="{A6E4567D-2375-4608-8276-D6FD71F14F8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8354196"/>
              </p:ext>
            </p:extLst>
          </p:nvPr>
        </p:nvGraphicFramePr>
        <p:xfrm>
          <a:off x="1863831" y="3900689"/>
          <a:ext cx="2703041" cy="7409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20" name="Diagrama 19">
            <a:extLst>
              <a:ext uri="{FF2B5EF4-FFF2-40B4-BE49-F238E27FC236}">
                <a16:creationId xmlns:a16="http://schemas.microsoft.com/office/drawing/2014/main" id="{D5CBDA53-4316-4DC5-AEA2-E1ED4155EC3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28563101"/>
              </p:ext>
            </p:extLst>
          </p:nvPr>
        </p:nvGraphicFramePr>
        <p:xfrm>
          <a:off x="5792068" y="5581250"/>
          <a:ext cx="2894732" cy="6560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21" name="Diagrama 20">
            <a:extLst>
              <a:ext uri="{FF2B5EF4-FFF2-40B4-BE49-F238E27FC236}">
                <a16:creationId xmlns:a16="http://schemas.microsoft.com/office/drawing/2014/main" id="{14C62823-B725-4CD4-A6AE-B40CE2E0E6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61674060"/>
              </p:ext>
            </p:extLst>
          </p:nvPr>
        </p:nvGraphicFramePr>
        <p:xfrm>
          <a:off x="3650694" y="4749385"/>
          <a:ext cx="3729618" cy="6560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cxnSp>
        <p:nvCxnSpPr>
          <p:cNvPr id="19" name="Conector: Angulado 18">
            <a:extLst>
              <a:ext uri="{FF2B5EF4-FFF2-40B4-BE49-F238E27FC236}">
                <a16:creationId xmlns:a16="http://schemas.microsoft.com/office/drawing/2014/main" id="{FB5F1A5B-BA94-4C4C-854F-C33C4FA76BE4}"/>
              </a:ext>
            </a:extLst>
          </p:cNvPr>
          <p:cNvCxnSpPr/>
          <p:nvPr/>
        </p:nvCxnSpPr>
        <p:spPr>
          <a:xfrm>
            <a:off x="2927220" y="4749385"/>
            <a:ext cx="576262" cy="387350"/>
          </a:xfrm>
          <a:prstGeom prst="bentConnector3">
            <a:avLst>
              <a:gd name="adj1" fmla="val 2011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Conector: Angulado 21">
            <a:extLst>
              <a:ext uri="{FF2B5EF4-FFF2-40B4-BE49-F238E27FC236}">
                <a16:creationId xmlns:a16="http://schemas.microsoft.com/office/drawing/2014/main" id="{E5AFE23A-9EDF-4573-92C7-89C8DE69C18A}"/>
              </a:ext>
            </a:extLst>
          </p:cNvPr>
          <p:cNvCxnSpPr/>
          <p:nvPr/>
        </p:nvCxnSpPr>
        <p:spPr>
          <a:xfrm>
            <a:off x="4932040" y="5525534"/>
            <a:ext cx="576262" cy="387350"/>
          </a:xfrm>
          <a:prstGeom prst="bentConnector3">
            <a:avLst>
              <a:gd name="adj1" fmla="val 2011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itle 1">
            <a:extLst>
              <a:ext uri="{FF2B5EF4-FFF2-40B4-BE49-F238E27FC236}">
                <a16:creationId xmlns:a16="http://schemas.microsoft.com/office/drawing/2014/main" id="{0D9E3A9F-25D1-48E4-82FA-39953FA50013}"/>
              </a:ext>
            </a:extLst>
          </p:cNvPr>
          <p:cNvSpPr txBox="1">
            <a:spLocks/>
          </p:cNvSpPr>
          <p:nvPr/>
        </p:nvSpPr>
        <p:spPr>
          <a:xfrm>
            <a:off x="2413000" y="116631"/>
            <a:ext cx="6426200" cy="1027881"/>
          </a:xfrm>
          <a:prstGeom prst="rect">
            <a:avLst/>
          </a:prstGeom>
        </p:spPr>
        <p:txBody>
          <a:bodyPr/>
          <a:lstStyle/>
          <a:p>
            <a:pPr algn="r" defTabSz="457200">
              <a:defRPr/>
            </a:pPr>
            <a:r>
              <a:rPr lang="pt-BR" sz="3000" b="1" dirty="0">
                <a:solidFill>
                  <a:srgbClr val="7F7F7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MS PGothic" pitchFamily="34" charset="-128"/>
                <a:cs typeface="+mn-cs"/>
              </a:rPr>
              <a:t>Análise</a:t>
            </a:r>
          </a:p>
          <a:p>
            <a:pPr algn="r" defTabSz="457200">
              <a:defRPr/>
            </a:pPr>
            <a:r>
              <a:rPr lang="pt-BR" dirty="0">
                <a:solidFill>
                  <a:srgbClr val="7F7F7F"/>
                </a:solidFill>
                <a:latin typeface="+mj-lt"/>
                <a:ea typeface="MS PGothic" pitchFamily="34" charset="-128"/>
                <a:cs typeface="+mn-cs"/>
              </a:rPr>
              <a:t>Pedido de revisão extraordinária</a:t>
            </a:r>
          </a:p>
        </p:txBody>
      </p:sp>
    </p:spTree>
    <p:extLst>
      <p:ext uri="{BB962C8B-B14F-4D97-AF65-F5344CB8AC3E}">
        <p14:creationId xmlns:p14="http://schemas.microsoft.com/office/powerpoint/2010/main" val="422949990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Espaço Reservado para Número de Slide 5">
            <a:extLst>
              <a:ext uri="{FF2B5EF4-FFF2-40B4-BE49-F238E27FC236}">
                <a16:creationId xmlns:a16="http://schemas.microsoft.com/office/drawing/2014/main" id="{FB39CE19-9E88-470F-9E66-148C375E131C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8718799E-2544-432E-A1DC-7FCCF1F6EF0C}" type="slidenum">
              <a:rPr lang="en-US" altLang="pt-BR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buFontTx/>
                <a:buNone/>
              </a:pPr>
              <a:t>18</a:t>
            </a:fld>
            <a:endParaRPr lang="en-US" altLang="pt-BR" sz="1200">
              <a:solidFill>
                <a:schemeClr val="bg1"/>
              </a:solidFill>
            </a:endParaRPr>
          </a:p>
        </p:txBody>
      </p:sp>
      <p:sp>
        <p:nvSpPr>
          <p:cNvPr id="47107" name="TextBox 5">
            <a:extLst>
              <a:ext uri="{FF2B5EF4-FFF2-40B4-BE49-F238E27FC236}">
                <a16:creationId xmlns:a16="http://schemas.microsoft.com/office/drawing/2014/main" id="{40384F03-4BCA-47E5-83B0-B008C853DC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7200" y="6505575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pt-BR" sz="1400">
                <a:solidFill>
                  <a:schemeClr val="bg1"/>
                </a:solidFill>
              </a:rPr>
              <a:t>Agência Nacional de Aviação Civil</a:t>
            </a:r>
          </a:p>
        </p:txBody>
      </p:sp>
      <p:graphicFrame>
        <p:nvGraphicFramePr>
          <p:cNvPr id="8" name="Diagrama 7">
            <a:extLst>
              <a:ext uri="{FF2B5EF4-FFF2-40B4-BE49-F238E27FC236}">
                <a16:creationId xmlns:a16="http://schemas.microsoft.com/office/drawing/2014/main" id="{C0C6DBC2-C062-428C-9CA8-107D9BC416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0644826"/>
              </p:ext>
            </p:extLst>
          </p:nvPr>
        </p:nvGraphicFramePr>
        <p:xfrm>
          <a:off x="323528" y="1560799"/>
          <a:ext cx="8496944" cy="39564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16115592-EC07-4644-93B2-62D45A5BC68C}"/>
              </a:ext>
            </a:extLst>
          </p:cNvPr>
          <p:cNvSpPr txBox="1">
            <a:spLocks/>
          </p:cNvSpPr>
          <p:nvPr/>
        </p:nvSpPr>
        <p:spPr>
          <a:xfrm>
            <a:off x="2413000" y="116631"/>
            <a:ext cx="6426200" cy="1027881"/>
          </a:xfrm>
          <a:prstGeom prst="rect">
            <a:avLst/>
          </a:prstGeom>
        </p:spPr>
        <p:txBody>
          <a:bodyPr/>
          <a:lstStyle/>
          <a:p>
            <a:pPr algn="r" defTabSz="457200">
              <a:defRPr/>
            </a:pPr>
            <a:r>
              <a:rPr lang="pt-BR" sz="3000" b="1" dirty="0">
                <a:solidFill>
                  <a:srgbClr val="7F7F7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MS PGothic" pitchFamily="34" charset="-128"/>
                <a:cs typeface="+mn-cs"/>
              </a:rPr>
              <a:t>Análise</a:t>
            </a:r>
          </a:p>
          <a:p>
            <a:pPr algn="r" defTabSz="457200">
              <a:defRPr/>
            </a:pPr>
            <a:r>
              <a:rPr lang="pt-BR" dirty="0">
                <a:solidFill>
                  <a:srgbClr val="7F7F7F"/>
                </a:solidFill>
                <a:latin typeface="+mj-lt"/>
                <a:ea typeface="MS PGothic" pitchFamily="34" charset="-128"/>
                <a:cs typeface="+mn-cs"/>
              </a:rPr>
              <a:t>Pedido de revisão extraordinária</a:t>
            </a:r>
          </a:p>
        </p:txBody>
      </p:sp>
    </p:spTree>
    <p:extLst>
      <p:ext uri="{BB962C8B-B14F-4D97-AF65-F5344CB8AC3E}">
        <p14:creationId xmlns:p14="http://schemas.microsoft.com/office/powerpoint/2010/main" val="249662247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Espaço Reservado para Número de Slide 5">
            <a:extLst>
              <a:ext uri="{FF2B5EF4-FFF2-40B4-BE49-F238E27FC236}">
                <a16:creationId xmlns:a16="http://schemas.microsoft.com/office/drawing/2014/main" id="{1292FEDD-EC3E-4CAC-B7B7-CF8EF15BBE3F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0CBD75BC-DC75-4ED0-AD76-8036D03EC115}" type="slidenum">
              <a:rPr lang="en-US" altLang="pt-BR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buFontTx/>
                <a:buNone/>
              </a:pPr>
              <a:t>19</a:t>
            </a:fld>
            <a:endParaRPr lang="en-US" altLang="pt-BR" sz="1200">
              <a:solidFill>
                <a:schemeClr val="bg1"/>
              </a:solidFill>
            </a:endParaRPr>
          </a:p>
        </p:txBody>
      </p:sp>
      <p:sp>
        <p:nvSpPr>
          <p:cNvPr id="36867" name="TextBox 5">
            <a:extLst>
              <a:ext uri="{FF2B5EF4-FFF2-40B4-BE49-F238E27FC236}">
                <a16:creationId xmlns:a16="http://schemas.microsoft.com/office/drawing/2014/main" id="{E2CF2114-FE25-4754-9328-0A51EE0FB57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7200" y="6505575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pt-BR" sz="1400">
                <a:solidFill>
                  <a:schemeClr val="bg1"/>
                </a:solidFill>
              </a:rPr>
              <a:t>Agência Nacional de Aviação Civil</a:t>
            </a:r>
          </a:p>
        </p:txBody>
      </p:sp>
      <p:grpSp>
        <p:nvGrpSpPr>
          <p:cNvPr id="8" name="Agrupar 7">
            <a:extLst>
              <a:ext uri="{FF2B5EF4-FFF2-40B4-BE49-F238E27FC236}">
                <a16:creationId xmlns:a16="http://schemas.microsoft.com/office/drawing/2014/main" id="{51C8EE0A-0929-43BA-9C4C-5B71B0487C23}"/>
              </a:ext>
            </a:extLst>
          </p:cNvPr>
          <p:cNvGrpSpPr/>
          <p:nvPr/>
        </p:nvGrpSpPr>
        <p:grpSpPr>
          <a:xfrm>
            <a:off x="337772" y="1420005"/>
            <a:ext cx="8458200" cy="656062"/>
            <a:chOff x="0" y="1562386"/>
            <a:chExt cx="8458200" cy="656062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9" name="Retângulo: Cantos Arredondados 8">
              <a:extLst>
                <a:ext uri="{FF2B5EF4-FFF2-40B4-BE49-F238E27FC236}">
                  <a16:creationId xmlns:a16="http://schemas.microsoft.com/office/drawing/2014/main" id="{49ADADB6-5640-4947-BE60-DEAA8B7009FE}"/>
                </a:ext>
              </a:extLst>
            </p:cNvPr>
            <p:cNvSpPr/>
            <p:nvPr/>
          </p:nvSpPr>
          <p:spPr>
            <a:xfrm>
              <a:off x="0" y="1562386"/>
              <a:ext cx="8458200" cy="656062"/>
            </a:xfrm>
            <a:prstGeom prst="roundRect">
              <a:avLst/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Retângulo: Cantos Arredondados 4">
              <a:extLst>
                <a:ext uri="{FF2B5EF4-FFF2-40B4-BE49-F238E27FC236}">
                  <a16:creationId xmlns:a16="http://schemas.microsoft.com/office/drawing/2014/main" id="{13565100-9894-4361-81CF-A1413844D80E}"/>
                </a:ext>
              </a:extLst>
            </p:cNvPr>
            <p:cNvSpPr txBox="1"/>
            <p:nvPr/>
          </p:nvSpPr>
          <p:spPr>
            <a:xfrm>
              <a:off x="32026" y="1594412"/>
              <a:ext cx="8394148" cy="592010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6200" tIns="76200" rIns="76200" bIns="76200" spcCol="1270" anchor="ctr"/>
            <a:lstStyle/>
            <a:p>
              <a:pPr defTabSz="889000" eaLnBrk="1" fontAlgn="auto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pt-BR" sz="2000" dirty="0"/>
                <a:t>Capítulo III – DO PEDIDO DE REVISÃO EXTRAORDINÁRIA</a:t>
              </a:r>
            </a:p>
          </p:txBody>
        </p:sp>
      </p:grpSp>
      <p:grpSp>
        <p:nvGrpSpPr>
          <p:cNvPr id="36870" name="Agrupar 14">
            <a:extLst>
              <a:ext uri="{FF2B5EF4-FFF2-40B4-BE49-F238E27FC236}">
                <a16:creationId xmlns:a16="http://schemas.microsoft.com/office/drawing/2014/main" id="{C111A34F-0540-4BC6-946C-38A0AA1DBEE9}"/>
              </a:ext>
            </a:extLst>
          </p:cNvPr>
          <p:cNvGrpSpPr>
            <a:grpSpLocks/>
          </p:cNvGrpSpPr>
          <p:nvPr/>
        </p:nvGrpSpPr>
        <p:grpSpPr bwMode="auto">
          <a:xfrm>
            <a:off x="338138" y="2273300"/>
            <a:ext cx="5026025" cy="576263"/>
            <a:chOff x="251526" y="0"/>
            <a:chExt cx="2796214" cy="576056"/>
          </a:xfrm>
        </p:grpSpPr>
        <p:sp>
          <p:nvSpPr>
            <p:cNvPr id="16" name="Retângulo: Cantos Arredondados 15">
              <a:extLst>
                <a:ext uri="{FF2B5EF4-FFF2-40B4-BE49-F238E27FC236}">
                  <a16:creationId xmlns:a16="http://schemas.microsoft.com/office/drawing/2014/main" id="{FFA33387-3088-4ABA-A903-5E5B492BAC01}"/>
                </a:ext>
              </a:extLst>
            </p:cNvPr>
            <p:cNvSpPr/>
            <p:nvPr/>
          </p:nvSpPr>
          <p:spPr>
            <a:xfrm rot="10800000" flipV="1">
              <a:off x="251526" y="0"/>
              <a:ext cx="2796214" cy="576056"/>
            </a:xfrm>
            <a:prstGeom prst="roundRect">
              <a:avLst>
                <a:gd name="adj" fmla="val 10000"/>
              </a:avLst>
            </a:prstGeom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shade val="50000"/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shade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" name="Retângulo: Cantos Arredondados 4">
              <a:extLst>
                <a:ext uri="{FF2B5EF4-FFF2-40B4-BE49-F238E27FC236}">
                  <a16:creationId xmlns:a16="http://schemas.microsoft.com/office/drawing/2014/main" id="{04227BDD-4700-4719-BF3D-739FD999D881}"/>
                </a:ext>
              </a:extLst>
            </p:cNvPr>
            <p:cNvSpPr txBox="1"/>
            <p:nvPr/>
          </p:nvSpPr>
          <p:spPr>
            <a:xfrm>
              <a:off x="268307" y="17457"/>
              <a:ext cx="2762652" cy="54114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25400" tIns="25400" rIns="25400" bIns="25400" spcCol="1270" anchor="ctr"/>
            <a:lstStyle/>
            <a:p>
              <a:pPr defTabSz="8890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pt-BR" sz="2000" dirty="0"/>
                <a:t>Seção III – Dos novos investimentos</a:t>
              </a:r>
            </a:p>
          </p:txBody>
        </p:sp>
      </p:grpSp>
      <p:graphicFrame>
        <p:nvGraphicFramePr>
          <p:cNvPr id="13" name="Diagrama 12">
            <a:extLst>
              <a:ext uri="{FF2B5EF4-FFF2-40B4-BE49-F238E27FC236}">
                <a16:creationId xmlns:a16="http://schemas.microsoft.com/office/drawing/2014/main" id="{63C8CF8D-9B38-4417-B290-4356B030BDE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15677512"/>
              </p:ext>
            </p:extLst>
          </p:nvPr>
        </p:nvGraphicFramePr>
        <p:xfrm>
          <a:off x="395536" y="3092329"/>
          <a:ext cx="4090213" cy="8844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14" name="Conector: Angulado 13">
            <a:extLst>
              <a:ext uri="{FF2B5EF4-FFF2-40B4-BE49-F238E27FC236}">
                <a16:creationId xmlns:a16="http://schemas.microsoft.com/office/drawing/2014/main" id="{58527177-F980-4CEA-9D33-9CC5C6FE1AB6}"/>
              </a:ext>
            </a:extLst>
          </p:cNvPr>
          <p:cNvCxnSpPr/>
          <p:nvPr/>
        </p:nvCxnSpPr>
        <p:spPr>
          <a:xfrm>
            <a:off x="1403450" y="4193778"/>
            <a:ext cx="576262" cy="387350"/>
          </a:xfrm>
          <a:prstGeom prst="bentConnector3">
            <a:avLst>
              <a:gd name="adj1" fmla="val 2011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8" name="Diagrama 17">
            <a:extLst>
              <a:ext uri="{FF2B5EF4-FFF2-40B4-BE49-F238E27FC236}">
                <a16:creationId xmlns:a16="http://schemas.microsoft.com/office/drawing/2014/main" id="{A6E4567D-2375-4608-8276-D6FD71F14F8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38798649"/>
              </p:ext>
            </p:extLst>
          </p:nvPr>
        </p:nvGraphicFramePr>
        <p:xfrm>
          <a:off x="2223871" y="4221088"/>
          <a:ext cx="3068209" cy="7409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21" name="Diagrama 20">
            <a:extLst>
              <a:ext uri="{FF2B5EF4-FFF2-40B4-BE49-F238E27FC236}">
                <a16:creationId xmlns:a16="http://schemas.microsoft.com/office/drawing/2014/main" id="{14C62823-B725-4CD4-A6AE-B40CE2E0E6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87502952"/>
              </p:ext>
            </p:extLst>
          </p:nvPr>
        </p:nvGraphicFramePr>
        <p:xfrm>
          <a:off x="4298766" y="5293218"/>
          <a:ext cx="4089658" cy="6560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cxnSp>
        <p:nvCxnSpPr>
          <p:cNvPr id="19" name="Conector: Angulado 18">
            <a:extLst>
              <a:ext uri="{FF2B5EF4-FFF2-40B4-BE49-F238E27FC236}">
                <a16:creationId xmlns:a16="http://schemas.microsoft.com/office/drawing/2014/main" id="{FB5F1A5B-BA94-4C4C-854F-C33C4FA76BE4}"/>
              </a:ext>
            </a:extLst>
          </p:cNvPr>
          <p:cNvCxnSpPr/>
          <p:nvPr/>
        </p:nvCxnSpPr>
        <p:spPr>
          <a:xfrm>
            <a:off x="3448947" y="5233899"/>
            <a:ext cx="576262" cy="387350"/>
          </a:xfrm>
          <a:prstGeom prst="bentConnector3">
            <a:avLst>
              <a:gd name="adj1" fmla="val 2011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itle 1">
            <a:extLst>
              <a:ext uri="{FF2B5EF4-FFF2-40B4-BE49-F238E27FC236}">
                <a16:creationId xmlns:a16="http://schemas.microsoft.com/office/drawing/2014/main" id="{4BB73A38-2552-4207-A451-9047996AF29E}"/>
              </a:ext>
            </a:extLst>
          </p:cNvPr>
          <p:cNvSpPr txBox="1">
            <a:spLocks/>
          </p:cNvSpPr>
          <p:nvPr/>
        </p:nvSpPr>
        <p:spPr>
          <a:xfrm>
            <a:off x="2413000" y="116631"/>
            <a:ext cx="6426200" cy="1027881"/>
          </a:xfrm>
          <a:prstGeom prst="rect">
            <a:avLst/>
          </a:prstGeom>
        </p:spPr>
        <p:txBody>
          <a:bodyPr/>
          <a:lstStyle/>
          <a:p>
            <a:pPr algn="r" defTabSz="457200">
              <a:defRPr/>
            </a:pPr>
            <a:r>
              <a:rPr lang="pt-BR" sz="3000" b="1" dirty="0">
                <a:solidFill>
                  <a:srgbClr val="7F7F7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MS PGothic" pitchFamily="34" charset="-128"/>
                <a:cs typeface="+mn-cs"/>
              </a:rPr>
              <a:t>Análise</a:t>
            </a:r>
          </a:p>
          <a:p>
            <a:pPr algn="r" defTabSz="457200">
              <a:defRPr/>
            </a:pPr>
            <a:r>
              <a:rPr lang="pt-BR" dirty="0">
                <a:solidFill>
                  <a:srgbClr val="7F7F7F"/>
                </a:solidFill>
                <a:latin typeface="+mj-lt"/>
                <a:ea typeface="MS PGothic" pitchFamily="34" charset="-128"/>
                <a:cs typeface="+mn-cs"/>
              </a:rPr>
              <a:t>Pedido de revisão extraordinária</a:t>
            </a:r>
          </a:p>
        </p:txBody>
      </p:sp>
    </p:spTree>
    <p:extLst>
      <p:ext uri="{BB962C8B-B14F-4D97-AF65-F5344CB8AC3E}">
        <p14:creationId xmlns:p14="http://schemas.microsoft.com/office/powerpoint/2010/main" val="38745248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ontent Placeholder 1">
            <a:extLst>
              <a:ext uri="{FF2B5EF4-FFF2-40B4-BE49-F238E27FC236}">
                <a16:creationId xmlns:a16="http://schemas.microsoft.com/office/drawing/2014/main" id="{7C045F9C-A5D0-4449-9CB4-F0EE148EB08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91930552"/>
              </p:ext>
            </p:extLst>
          </p:nvPr>
        </p:nvGraphicFramePr>
        <p:xfrm>
          <a:off x="381000" y="1340768"/>
          <a:ext cx="8458200" cy="49685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2291" name="Espaço Reservado para Número de Slide 5">
            <a:extLst>
              <a:ext uri="{FF2B5EF4-FFF2-40B4-BE49-F238E27FC236}">
                <a16:creationId xmlns:a16="http://schemas.microsoft.com/office/drawing/2014/main" id="{F1710BDD-9ACA-4698-9684-AF596D77BA5B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FontTx/>
              <a:buNone/>
            </a:pPr>
            <a:fld id="{F12E4DCD-FADA-4BAF-BD65-3F1A062D56BB}" type="slidenum">
              <a:rPr lang="en-US" altLang="pt-BR" sz="1200" smtClean="0">
                <a:solidFill>
                  <a:schemeClr val="bg1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2</a:t>
            </a:fld>
            <a:endParaRPr lang="en-US" altLang="pt-BR" sz="120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2292" name="TextBox 5">
            <a:extLst>
              <a:ext uri="{FF2B5EF4-FFF2-40B4-BE49-F238E27FC236}">
                <a16:creationId xmlns:a16="http://schemas.microsoft.com/office/drawing/2014/main" id="{B96F4342-8BDF-48F7-AFD3-02343E4634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7200" y="6505575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pt-BR" sz="1400">
                <a:solidFill>
                  <a:schemeClr val="bg1"/>
                </a:solidFill>
              </a:rPr>
              <a:t>Agência Nacional de Aviação Civil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59614DB-187F-475A-A218-DE878FC39DCE}"/>
              </a:ext>
            </a:extLst>
          </p:cNvPr>
          <p:cNvSpPr txBox="1">
            <a:spLocks/>
          </p:cNvSpPr>
          <p:nvPr/>
        </p:nvSpPr>
        <p:spPr>
          <a:xfrm>
            <a:off x="2413000" y="293390"/>
            <a:ext cx="6426200" cy="510580"/>
          </a:xfrm>
          <a:prstGeom prst="rect">
            <a:avLst/>
          </a:prstGeom>
        </p:spPr>
        <p:txBody>
          <a:bodyPr/>
          <a:lstStyle/>
          <a:p>
            <a:pPr algn="r" defTabSz="457200">
              <a:defRPr/>
            </a:pPr>
            <a:r>
              <a:rPr lang="pt-BR" sz="3000" b="1" dirty="0">
                <a:solidFill>
                  <a:srgbClr val="7F7F7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MS PGothic" pitchFamily="34" charset="-128"/>
                <a:cs typeface="+mn-cs"/>
              </a:rPr>
              <a:t>Sumário</a:t>
            </a:r>
            <a:endParaRPr lang="en-US" sz="3000" b="1" dirty="0">
              <a:solidFill>
                <a:srgbClr val="7F7F7F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j-lt"/>
              <a:ea typeface="MS PGothic" pitchFamily="34" charset="-128"/>
              <a:cs typeface="+mn-cs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Espaço Reservado para Número de Slide 5">
            <a:extLst>
              <a:ext uri="{FF2B5EF4-FFF2-40B4-BE49-F238E27FC236}">
                <a16:creationId xmlns:a16="http://schemas.microsoft.com/office/drawing/2014/main" id="{FB39CE19-9E88-470F-9E66-148C375E131C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8718799E-2544-432E-A1DC-7FCCF1F6EF0C}" type="slidenum">
              <a:rPr lang="en-US" altLang="pt-BR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buFontTx/>
                <a:buNone/>
              </a:pPr>
              <a:t>20</a:t>
            </a:fld>
            <a:endParaRPr lang="en-US" altLang="pt-BR" sz="1200">
              <a:solidFill>
                <a:schemeClr val="bg1"/>
              </a:solidFill>
            </a:endParaRPr>
          </a:p>
        </p:txBody>
      </p:sp>
      <p:sp>
        <p:nvSpPr>
          <p:cNvPr id="47107" name="TextBox 5">
            <a:extLst>
              <a:ext uri="{FF2B5EF4-FFF2-40B4-BE49-F238E27FC236}">
                <a16:creationId xmlns:a16="http://schemas.microsoft.com/office/drawing/2014/main" id="{40384F03-4BCA-47E5-83B0-B008C853DC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7200" y="6505575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pt-BR" sz="1400">
                <a:solidFill>
                  <a:schemeClr val="bg1"/>
                </a:solidFill>
              </a:rPr>
              <a:t>Agência Nacional de Aviação Civil</a:t>
            </a:r>
          </a:p>
        </p:txBody>
      </p:sp>
      <p:graphicFrame>
        <p:nvGraphicFramePr>
          <p:cNvPr id="8" name="Diagrama 7">
            <a:extLst>
              <a:ext uri="{FF2B5EF4-FFF2-40B4-BE49-F238E27FC236}">
                <a16:creationId xmlns:a16="http://schemas.microsoft.com/office/drawing/2014/main" id="{C0C6DBC2-C062-428C-9CA8-107D9BC416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83372473"/>
              </p:ext>
            </p:extLst>
          </p:nvPr>
        </p:nvGraphicFramePr>
        <p:xfrm>
          <a:off x="323528" y="1560799"/>
          <a:ext cx="8496944" cy="45365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D4607DB8-8840-49A8-9405-2B287054368B}"/>
              </a:ext>
            </a:extLst>
          </p:cNvPr>
          <p:cNvSpPr txBox="1">
            <a:spLocks/>
          </p:cNvSpPr>
          <p:nvPr/>
        </p:nvSpPr>
        <p:spPr>
          <a:xfrm>
            <a:off x="2413000" y="116631"/>
            <a:ext cx="6426200" cy="1027881"/>
          </a:xfrm>
          <a:prstGeom prst="rect">
            <a:avLst/>
          </a:prstGeom>
        </p:spPr>
        <p:txBody>
          <a:bodyPr/>
          <a:lstStyle/>
          <a:p>
            <a:pPr algn="r" defTabSz="457200">
              <a:defRPr/>
            </a:pPr>
            <a:r>
              <a:rPr lang="pt-BR" sz="3000" b="1" dirty="0">
                <a:solidFill>
                  <a:srgbClr val="7F7F7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MS PGothic" pitchFamily="34" charset="-128"/>
                <a:cs typeface="+mn-cs"/>
              </a:rPr>
              <a:t>Análise</a:t>
            </a:r>
          </a:p>
          <a:p>
            <a:pPr algn="r" defTabSz="457200">
              <a:defRPr/>
            </a:pPr>
            <a:r>
              <a:rPr lang="pt-BR" dirty="0">
                <a:solidFill>
                  <a:srgbClr val="7F7F7F"/>
                </a:solidFill>
                <a:latin typeface="+mj-lt"/>
                <a:ea typeface="MS PGothic" pitchFamily="34" charset="-128"/>
                <a:cs typeface="+mn-cs"/>
              </a:rPr>
              <a:t>Pedido de revisão extraordinária</a:t>
            </a:r>
          </a:p>
        </p:txBody>
      </p:sp>
    </p:spTree>
    <p:extLst>
      <p:ext uri="{BB962C8B-B14F-4D97-AF65-F5344CB8AC3E}">
        <p14:creationId xmlns:p14="http://schemas.microsoft.com/office/powerpoint/2010/main" val="18149261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Espaço Reservado para Número de Slide 5">
            <a:extLst>
              <a:ext uri="{FF2B5EF4-FFF2-40B4-BE49-F238E27FC236}">
                <a16:creationId xmlns:a16="http://schemas.microsoft.com/office/drawing/2014/main" id="{BA673C1F-3B2A-44F4-B2D5-2A84722562C5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1EA3BFA1-CA3E-434E-B5BC-85D7B2939A4F}" type="slidenum">
              <a:rPr lang="en-US" altLang="pt-BR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buFontTx/>
                <a:buNone/>
              </a:pPr>
              <a:t>21</a:t>
            </a:fld>
            <a:endParaRPr lang="en-US" altLang="pt-BR" sz="1200">
              <a:solidFill>
                <a:schemeClr val="bg1"/>
              </a:solidFill>
            </a:endParaRPr>
          </a:p>
        </p:txBody>
      </p:sp>
      <p:sp>
        <p:nvSpPr>
          <p:cNvPr id="43011" name="TextBox 5">
            <a:extLst>
              <a:ext uri="{FF2B5EF4-FFF2-40B4-BE49-F238E27FC236}">
                <a16:creationId xmlns:a16="http://schemas.microsoft.com/office/drawing/2014/main" id="{AEDFEFC1-50C6-4C32-A506-9C7861DAA01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7200" y="6505575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pt-BR" sz="1400">
                <a:solidFill>
                  <a:schemeClr val="bg1"/>
                </a:solidFill>
              </a:rPr>
              <a:t>Agência Nacional de Aviação Civil</a:t>
            </a:r>
          </a:p>
        </p:txBody>
      </p:sp>
      <p:graphicFrame>
        <p:nvGraphicFramePr>
          <p:cNvPr id="8" name="Diagrama 7">
            <a:extLst>
              <a:ext uri="{FF2B5EF4-FFF2-40B4-BE49-F238E27FC236}">
                <a16:creationId xmlns:a16="http://schemas.microsoft.com/office/drawing/2014/main" id="{BBFBE263-FB48-431B-96D0-1AA80C8C8F26}"/>
              </a:ext>
            </a:extLst>
          </p:cNvPr>
          <p:cNvGraphicFramePr/>
          <p:nvPr/>
        </p:nvGraphicFramePr>
        <p:xfrm>
          <a:off x="457200" y="2462238"/>
          <a:ext cx="3759888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4" name="Diagrama 13">
            <a:extLst>
              <a:ext uri="{FF2B5EF4-FFF2-40B4-BE49-F238E27FC236}">
                <a16:creationId xmlns:a16="http://schemas.microsoft.com/office/drawing/2014/main" id="{A86469A2-CE4A-4D5C-84B9-0FFB577C8F85}"/>
              </a:ext>
            </a:extLst>
          </p:cNvPr>
          <p:cNvGraphicFramePr/>
          <p:nvPr/>
        </p:nvGraphicFramePr>
        <p:xfrm>
          <a:off x="4348240" y="4442313"/>
          <a:ext cx="2095967" cy="7112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16" name="Diagrama 15">
            <a:extLst>
              <a:ext uri="{FF2B5EF4-FFF2-40B4-BE49-F238E27FC236}">
                <a16:creationId xmlns:a16="http://schemas.microsoft.com/office/drawing/2014/main" id="{6947A5BC-76DD-4145-B689-29D26A00E6B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08253744"/>
              </p:ext>
            </p:extLst>
          </p:nvPr>
        </p:nvGraphicFramePr>
        <p:xfrm>
          <a:off x="458303" y="2500945"/>
          <a:ext cx="3759888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sp>
        <p:nvSpPr>
          <p:cNvPr id="43017" name="CaixaDeTexto 1">
            <a:extLst>
              <a:ext uri="{FF2B5EF4-FFF2-40B4-BE49-F238E27FC236}">
                <a16:creationId xmlns:a16="http://schemas.microsoft.com/office/drawing/2014/main" id="{1A85A5AC-4FBE-4EE6-A8A6-60E46223E9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72000" y="2420888"/>
            <a:ext cx="3960440" cy="24006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9pPr>
          </a:lstStyle>
          <a:p>
            <a:pPr algn="just">
              <a:spcBef>
                <a:spcPct val="0"/>
              </a:spcBef>
              <a:spcAft>
                <a:spcPts val="600"/>
              </a:spcAft>
              <a:buFontTx/>
              <a:buNone/>
            </a:pPr>
            <a:r>
              <a:rPr lang="pt-BR" altLang="pt-BR" sz="1400" dirty="0">
                <a:solidFill>
                  <a:schemeClr val="tx1"/>
                </a:solidFill>
                <a:latin typeface="+mn-lt"/>
              </a:rPr>
              <a:t>Art. 14. Para recompor o equilíbrio econômico-financeiro em favor do Poder Concedente ou da Concessionária, a ANAC poderá utilizar as seguintes medidas, individual ou conjuntamente, nos termos do respectivo Contrato de Concessão:</a:t>
            </a:r>
          </a:p>
          <a:p>
            <a:pPr algn="just">
              <a:spcBef>
                <a:spcPct val="0"/>
              </a:spcBef>
              <a:spcAft>
                <a:spcPts val="600"/>
              </a:spcAft>
              <a:buFontTx/>
              <a:buNone/>
            </a:pPr>
            <a:r>
              <a:rPr lang="pt-BR" altLang="pt-BR" sz="1400" dirty="0">
                <a:solidFill>
                  <a:schemeClr val="tx1"/>
                </a:solidFill>
                <a:latin typeface="+mn-lt"/>
              </a:rPr>
              <a:t>(...)</a:t>
            </a:r>
          </a:p>
          <a:p>
            <a:pPr algn="just">
              <a:spcBef>
                <a:spcPct val="0"/>
              </a:spcBef>
              <a:spcAft>
                <a:spcPts val="600"/>
              </a:spcAft>
              <a:buFontTx/>
              <a:buNone/>
            </a:pPr>
            <a:r>
              <a:rPr lang="pt-BR" altLang="pt-BR" sz="1400" dirty="0">
                <a:solidFill>
                  <a:schemeClr val="tx1"/>
                </a:solidFill>
                <a:latin typeface="+mn-lt"/>
              </a:rPr>
              <a:t>IV – </a:t>
            </a:r>
            <a:r>
              <a:rPr lang="pt-BR" altLang="pt-BR" sz="1400" b="1" dirty="0">
                <a:solidFill>
                  <a:schemeClr val="tx1"/>
                </a:solidFill>
                <a:latin typeface="+mn-lt"/>
              </a:rPr>
              <a:t>revisão da contribuição ao sistema </a:t>
            </a:r>
            <a:r>
              <a:rPr lang="pt-BR" altLang="pt-BR" sz="1400" dirty="0">
                <a:solidFill>
                  <a:schemeClr val="tx1"/>
                </a:solidFill>
                <a:latin typeface="+mn-lt"/>
              </a:rPr>
              <a:t>devida pela Concessionária, mediante comum acordo entre ANAC e Concessionária, </a:t>
            </a:r>
            <a:r>
              <a:rPr lang="pt-BR" altLang="pt-BR" sz="1400" b="1" dirty="0">
                <a:solidFill>
                  <a:schemeClr val="tx1"/>
                </a:solidFill>
                <a:latin typeface="+mn-lt"/>
              </a:rPr>
              <a:t>após prévia aprovação do Ministério dos Transportes, Portos e Aviação Civil</a:t>
            </a:r>
            <a:r>
              <a:rPr lang="pt-BR" altLang="pt-BR" sz="1400" dirty="0">
                <a:solidFill>
                  <a:schemeClr val="tx1"/>
                </a:solidFill>
                <a:latin typeface="+mn-lt"/>
              </a:rPr>
              <a:t>;</a:t>
            </a:r>
            <a:endParaRPr lang="pt-BR" altLang="pt-BR" sz="2400" dirty="0">
              <a:solidFill>
                <a:schemeClr val="tx1"/>
              </a:solidFill>
              <a:latin typeface="Times New Roman" panose="02020603050405020304" pitchFamily="18" charset="0"/>
            </a:endParaRPr>
          </a:p>
        </p:txBody>
      </p:sp>
      <p:grpSp>
        <p:nvGrpSpPr>
          <p:cNvPr id="10" name="Agrupar 9">
            <a:extLst>
              <a:ext uri="{FF2B5EF4-FFF2-40B4-BE49-F238E27FC236}">
                <a16:creationId xmlns:a16="http://schemas.microsoft.com/office/drawing/2014/main" id="{972FA16E-9684-4E16-A35E-F61CC9378477}"/>
              </a:ext>
            </a:extLst>
          </p:cNvPr>
          <p:cNvGrpSpPr/>
          <p:nvPr/>
        </p:nvGrpSpPr>
        <p:grpSpPr>
          <a:xfrm>
            <a:off x="342900" y="1569900"/>
            <a:ext cx="8458200" cy="616420"/>
            <a:chOff x="0" y="3528390"/>
            <a:chExt cx="8458200" cy="616420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11" name="Retângulo: Cantos Arredondados 10">
              <a:extLst>
                <a:ext uri="{FF2B5EF4-FFF2-40B4-BE49-F238E27FC236}">
                  <a16:creationId xmlns:a16="http://schemas.microsoft.com/office/drawing/2014/main" id="{58DF4EB2-AEFA-46BE-88BC-6F7ACDAA81A6}"/>
                </a:ext>
              </a:extLst>
            </p:cNvPr>
            <p:cNvSpPr/>
            <p:nvPr/>
          </p:nvSpPr>
          <p:spPr>
            <a:xfrm>
              <a:off x="0" y="3528390"/>
              <a:ext cx="8458200" cy="616420"/>
            </a:xfrm>
            <a:prstGeom prst="roundRect">
              <a:avLst/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tângulo: Cantos Arredondados 4">
              <a:extLst>
                <a:ext uri="{FF2B5EF4-FFF2-40B4-BE49-F238E27FC236}">
                  <a16:creationId xmlns:a16="http://schemas.microsoft.com/office/drawing/2014/main" id="{3803AC82-B481-4C4E-B6BA-7DF368F848B2}"/>
                </a:ext>
              </a:extLst>
            </p:cNvPr>
            <p:cNvSpPr txBox="1"/>
            <p:nvPr/>
          </p:nvSpPr>
          <p:spPr>
            <a:xfrm>
              <a:off x="30091" y="3558481"/>
              <a:ext cx="8398018" cy="556238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6200" tIns="76200" rIns="76200" bIns="76200" spcCol="1270" anchor="ctr"/>
            <a:lstStyle/>
            <a:p>
              <a:pPr defTabSz="889000" eaLnBrk="1" fontAlgn="auto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pt-BR" sz="2000" b="1" dirty="0"/>
                <a:t>Capítulo IV – DA RECOMPOSIÇÃO DO EQUILÍBRIO ECONÔMICO-FINANCEIRO</a:t>
              </a:r>
            </a:p>
          </p:txBody>
        </p:sp>
      </p:grpSp>
      <p:graphicFrame>
        <p:nvGraphicFramePr>
          <p:cNvPr id="19" name="Diagrama 18">
            <a:extLst>
              <a:ext uri="{FF2B5EF4-FFF2-40B4-BE49-F238E27FC236}">
                <a16:creationId xmlns:a16="http://schemas.microsoft.com/office/drawing/2014/main" id="{A4C47817-F914-41BD-BA8E-ABC108FBA95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55210618"/>
              </p:ext>
            </p:extLst>
          </p:nvPr>
        </p:nvGraphicFramePr>
        <p:xfrm>
          <a:off x="473224" y="3068960"/>
          <a:ext cx="3744416" cy="18100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sp>
        <p:nvSpPr>
          <p:cNvPr id="17" name="Title 1">
            <a:extLst>
              <a:ext uri="{FF2B5EF4-FFF2-40B4-BE49-F238E27FC236}">
                <a16:creationId xmlns:a16="http://schemas.microsoft.com/office/drawing/2014/main" id="{6A4AF657-1539-4981-817D-A163AFC083AF}"/>
              </a:ext>
            </a:extLst>
          </p:cNvPr>
          <p:cNvSpPr txBox="1">
            <a:spLocks/>
          </p:cNvSpPr>
          <p:nvPr/>
        </p:nvSpPr>
        <p:spPr>
          <a:xfrm>
            <a:off x="2413000" y="116631"/>
            <a:ext cx="6426200" cy="1027881"/>
          </a:xfrm>
          <a:prstGeom prst="rect">
            <a:avLst/>
          </a:prstGeom>
        </p:spPr>
        <p:txBody>
          <a:bodyPr/>
          <a:lstStyle/>
          <a:p>
            <a:pPr algn="r" defTabSz="457200">
              <a:defRPr/>
            </a:pPr>
            <a:r>
              <a:rPr lang="pt-BR" sz="3000" b="1" dirty="0">
                <a:solidFill>
                  <a:srgbClr val="7F7F7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MS PGothic" pitchFamily="34" charset="-128"/>
                <a:cs typeface="+mn-cs"/>
              </a:rPr>
              <a:t>Análise</a:t>
            </a:r>
          </a:p>
          <a:p>
            <a:pPr algn="r" defTabSz="457200">
              <a:defRPr/>
            </a:pPr>
            <a:r>
              <a:rPr lang="pt-BR" dirty="0">
                <a:solidFill>
                  <a:srgbClr val="7F7F7F"/>
                </a:solidFill>
                <a:latin typeface="+mj-lt"/>
                <a:ea typeface="MS PGothic" pitchFamily="34" charset="-128"/>
                <a:cs typeface="+mn-cs"/>
              </a:rPr>
              <a:t>Recomposição do EEF</a:t>
            </a: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Espaço Reservado para Número de Slide 5">
            <a:extLst>
              <a:ext uri="{FF2B5EF4-FFF2-40B4-BE49-F238E27FC236}">
                <a16:creationId xmlns:a16="http://schemas.microsoft.com/office/drawing/2014/main" id="{C46C137E-3AD8-475A-8D3B-50F8AEF24C5C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55936DA8-AC16-42ED-9961-7513A147C1EF}" type="slidenum">
              <a:rPr lang="en-US" altLang="pt-BR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buFontTx/>
                <a:buNone/>
              </a:pPr>
              <a:t>22</a:t>
            </a:fld>
            <a:endParaRPr lang="en-US" altLang="pt-BR" sz="1200">
              <a:solidFill>
                <a:schemeClr val="bg1"/>
              </a:solidFill>
            </a:endParaRPr>
          </a:p>
        </p:txBody>
      </p:sp>
      <p:sp>
        <p:nvSpPr>
          <p:cNvPr id="45059" name="TextBox 5">
            <a:extLst>
              <a:ext uri="{FF2B5EF4-FFF2-40B4-BE49-F238E27FC236}">
                <a16:creationId xmlns:a16="http://schemas.microsoft.com/office/drawing/2014/main" id="{8097A86F-AD2E-4D56-AAEA-43F9F9B511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7200" y="6505575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pt-BR" sz="1400">
                <a:solidFill>
                  <a:schemeClr val="bg1"/>
                </a:solidFill>
              </a:rPr>
              <a:t>Agência Nacional de Aviação Civil</a:t>
            </a:r>
          </a:p>
        </p:txBody>
      </p:sp>
      <p:graphicFrame>
        <p:nvGraphicFramePr>
          <p:cNvPr id="14" name="Diagrama 13">
            <a:extLst>
              <a:ext uri="{FF2B5EF4-FFF2-40B4-BE49-F238E27FC236}">
                <a16:creationId xmlns:a16="http://schemas.microsoft.com/office/drawing/2014/main" id="{A86469A2-CE4A-4D5C-84B9-0FFB577C8F85}"/>
              </a:ext>
            </a:extLst>
          </p:cNvPr>
          <p:cNvGraphicFramePr/>
          <p:nvPr/>
        </p:nvGraphicFramePr>
        <p:xfrm>
          <a:off x="4348240" y="4442313"/>
          <a:ext cx="2095967" cy="7112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6" name="Diagrama 15">
            <a:extLst>
              <a:ext uri="{FF2B5EF4-FFF2-40B4-BE49-F238E27FC236}">
                <a16:creationId xmlns:a16="http://schemas.microsoft.com/office/drawing/2014/main" id="{6947A5BC-76DD-4145-B689-29D26A00E6B5}"/>
              </a:ext>
            </a:extLst>
          </p:cNvPr>
          <p:cNvGraphicFramePr/>
          <p:nvPr/>
        </p:nvGraphicFramePr>
        <p:xfrm>
          <a:off x="361380" y="2326492"/>
          <a:ext cx="3759888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45064" name="CaixaDeTexto 1">
            <a:extLst>
              <a:ext uri="{FF2B5EF4-FFF2-40B4-BE49-F238E27FC236}">
                <a16:creationId xmlns:a16="http://schemas.microsoft.com/office/drawing/2014/main" id="{C1477CD6-9E79-4A5E-B7A3-932238373DE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59311" y="2924944"/>
            <a:ext cx="4255911" cy="18928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9pPr>
          </a:lstStyle>
          <a:p>
            <a:pPr algn="just">
              <a:spcBef>
                <a:spcPct val="0"/>
              </a:spcBef>
              <a:spcAft>
                <a:spcPts val="600"/>
              </a:spcAft>
              <a:buFontTx/>
              <a:buNone/>
            </a:pPr>
            <a:r>
              <a:rPr lang="pt-BR" altLang="pt-BR" sz="1400" dirty="0">
                <a:solidFill>
                  <a:schemeClr val="tx1"/>
                </a:solidFill>
                <a:latin typeface="+mn-lt"/>
              </a:rPr>
              <a:t>Art. 18. O processo de Revisão Extraordinária deverá ser concluído em </a:t>
            </a:r>
            <a:r>
              <a:rPr lang="pt-BR" altLang="pt-BR" sz="1400" b="1" dirty="0">
                <a:solidFill>
                  <a:schemeClr val="tx1"/>
                </a:solidFill>
                <a:latin typeface="+mn-lt"/>
              </a:rPr>
              <a:t>prazo não superior ao estabelecido em Contrato</a:t>
            </a:r>
            <a:r>
              <a:rPr lang="pt-BR" altLang="pt-BR" sz="1400" dirty="0">
                <a:solidFill>
                  <a:schemeClr val="tx1"/>
                </a:solidFill>
                <a:latin typeface="+mn-lt"/>
              </a:rPr>
              <a:t>, ressalvadas as hipóteses, devidamente justificadas, em que seja </a:t>
            </a:r>
            <a:r>
              <a:rPr lang="pt-BR" altLang="pt-BR" sz="1400" b="1" dirty="0">
                <a:solidFill>
                  <a:schemeClr val="tx1"/>
                </a:solidFill>
                <a:latin typeface="+mn-lt"/>
              </a:rPr>
              <a:t>necessária a prorrogação do prazo. </a:t>
            </a:r>
          </a:p>
          <a:p>
            <a:pPr algn="just">
              <a:spcBef>
                <a:spcPct val="0"/>
              </a:spcBef>
              <a:spcAft>
                <a:spcPts val="600"/>
              </a:spcAft>
              <a:buFontTx/>
              <a:buNone/>
            </a:pPr>
            <a:r>
              <a:rPr lang="pt-BR" altLang="pt-BR" sz="1400" dirty="0">
                <a:solidFill>
                  <a:schemeClr val="tx1"/>
                </a:solidFill>
                <a:latin typeface="+mn-lt"/>
              </a:rPr>
              <a:t>Parágrafo único. A contagem do prazo </a:t>
            </a:r>
            <a:r>
              <a:rPr lang="pt-BR" altLang="pt-BR" sz="1400" b="1" dirty="0">
                <a:solidFill>
                  <a:schemeClr val="tx1"/>
                </a:solidFill>
                <a:latin typeface="+mn-lt"/>
              </a:rPr>
              <a:t>poderá ser interrompida </a:t>
            </a:r>
            <a:r>
              <a:rPr lang="pt-BR" altLang="pt-BR" sz="1400" dirty="0">
                <a:solidFill>
                  <a:schemeClr val="tx1"/>
                </a:solidFill>
                <a:latin typeface="+mn-lt"/>
              </a:rPr>
              <a:t>caso seja necessário solicitar adequação e complementação da instrução processual.</a:t>
            </a:r>
            <a:endParaRPr lang="pt-BR" altLang="pt-BR" sz="2400" dirty="0">
              <a:solidFill>
                <a:schemeClr val="tx1"/>
              </a:solidFill>
              <a:latin typeface="Times New Roman" panose="02020603050405020304" pitchFamily="18" charset="0"/>
            </a:endParaRPr>
          </a:p>
        </p:txBody>
      </p:sp>
      <p:grpSp>
        <p:nvGrpSpPr>
          <p:cNvPr id="10" name="Agrupar 9">
            <a:extLst>
              <a:ext uri="{FF2B5EF4-FFF2-40B4-BE49-F238E27FC236}">
                <a16:creationId xmlns:a16="http://schemas.microsoft.com/office/drawing/2014/main" id="{FED3972F-B5EE-4DCB-A62D-D93C72FAF11D}"/>
              </a:ext>
            </a:extLst>
          </p:cNvPr>
          <p:cNvGrpSpPr/>
          <p:nvPr/>
        </p:nvGrpSpPr>
        <p:grpSpPr>
          <a:xfrm>
            <a:off x="342899" y="1464636"/>
            <a:ext cx="8458200" cy="616420"/>
            <a:chOff x="0" y="4320480"/>
            <a:chExt cx="8458200" cy="616420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11" name="Retângulo: Cantos Arredondados 10">
              <a:extLst>
                <a:ext uri="{FF2B5EF4-FFF2-40B4-BE49-F238E27FC236}">
                  <a16:creationId xmlns:a16="http://schemas.microsoft.com/office/drawing/2014/main" id="{55831360-E2FF-4E95-9F13-A4D5991F3653}"/>
                </a:ext>
              </a:extLst>
            </p:cNvPr>
            <p:cNvSpPr/>
            <p:nvPr/>
          </p:nvSpPr>
          <p:spPr>
            <a:xfrm>
              <a:off x="0" y="4320480"/>
              <a:ext cx="8458200" cy="616420"/>
            </a:xfrm>
            <a:prstGeom prst="roundRect">
              <a:avLst/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tângulo: Cantos Arredondados 4">
              <a:extLst>
                <a:ext uri="{FF2B5EF4-FFF2-40B4-BE49-F238E27FC236}">
                  <a16:creationId xmlns:a16="http://schemas.microsoft.com/office/drawing/2014/main" id="{19D01D5C-4ED2-4B74-9E34-82567FF17619}"/>
                </a:ext>
              </a:extLst>
            </p:cNvPr>
            <p:cNvSpPr txBox="1"/>
            <p:nvPr/>
          </p:nvSpPr>
          <p:spPr>
            <a:xfrm>
              <a:off x="30091" y="4350571"/>
              <a:ext cx="8398018" cy="556238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6200" tIns="76200" rIns="76200" bIns="76200" spcCol="1270" anchor="ctr"/>
            <a:lstStyle/>
            <a:p>
              <a:pPr eaLnBrk="1" fontAlgn="auto" hangingPunct="1">
                <a:spcAft>
                  <a:spcPts val="0"/>
                </a:spcAft>
                <a:defRPr/>
              </a:pPr>
              <a:r>
                <a:rPr lang="pt-BR" sz="2000" b="1" dirty="0"/>
                <a:t>Capítulo V – DAS DISPOSIÇÕES FINAIS</a:t>
              </a:r>
            </a:p>
          </p:txBody>
        </p:sp>
      </p:grpSp>
      <p:sp>
        <p:nvSpPr>
          <p:cNvPr id="17" name="Retângulo: Cantos Arredondados 16">
            <a:extLst>
              <a:ext uri="{FF2B5EF4-FFF2-40B4-BE49-F238E27FC236}">
                <a16:creationId xmlns:a16="http://schemas.microsoft.com/office/drawing/2014/main" id="{D6A8B238-7403-43D8-924D-89B11B8E4F56}"/>
              </a:ext>
            </a:extLst>
          </p:cNvPr>
          <p:cNvSpPr/>
          <p:nvPr/>
        </p:nvSpPr>
        <p:spPr>
          <a:xfrm>
            <a:off x="342899" y="3004993"/>
            <a:ext cx="3778369" cy="1771952"/>
          </a:xfrm>
          <a:prstGeom prst="roundRect">
            <a:avLst>
              <a:gd name="adj" fmla="val 10000"/>
            </a:avLst>
          </a:prstGeo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  <a:sp3d z="-300000" prstMaterial="plastic"/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pt-BR" dirty="0"/>
          </a:p>
        </p:txBody>
      </p:sp>
      <p:sp>
        <p:nvSpPr>
          <p:cNvPr id="19" name="Retângulo: Cantos Arredondados 4">
            <a:extLst>
              <a:ext uri="{FF2B5EF4-FFF2-40B4-BE49-F238E27FC236}">
                <a16:creationId xmlns:a16="http://schemas.microsoft.com/office/drawing/2014/main" id="{A0CAA45A-005A-49D5-A8A4-FC62E8DCDBC4}"/>
              </a:ext>
            </a:extLst>
          </p:cNvPr>
          <p:cNvSpPr txBox="1"/>
          <p:nvPr/>
        </p:nvSpPr>
        <p:spPr>
          <a:xfrm>
            <a:off x="243182" y="3861048"/>
            <a:ext cx="4424449" cy="626756"/>
          </a:xfrm>
          <a:prstGeom prst="rect">
            <a:avLst/>
          </a:prstGeo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  <a:sp3d z="-300000"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1440" tIns="91440" rIns="91440" bIns="91440" numCol="1" spcCol="1270" anchor="ctr" anchorCtr="0">
            <a:noAutofit/>
          </a:bodyPr>
          <a:lstStyle/>
          <a:p>
            <a:pPr marL="342900" lvl="0" indent="-165100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pt-BR" dirty="0"/>
              <a:t>Interrupção </a:t>
            </a:r>
          </a:p>
        </p:txBody>
      </p:sp>
      <p:sp>
        <p:nvSpPr>
          <p:cNvPr id="20" name="Retângulo: Cantos Arredondados 4">
            <a:extLst>
              <a:ext uri="{FF2B5EF4-FFF2-40B4-BE49-F238E27FC236}">
                <a16:creationId xmlns:a16="http://schemas.microsoft.com/office/drawing/2014/main" id="{CE30C647-9928-4E09-A6DE-B6C8C19658D9}"/>
              </a:ext>
            </a:extLst>
          </p:cNvPr>
          <p:cNvSpPr txBox="1"/>
          <p:nvPr/>
        </p:nvSpPr>
        <p:spPr>
          <a:xfrm>
            <a:off x="243182" y="3174907"/>
            <a:ext cx="4424449" cy="626756"/>
          </a:xfrm>
          <a:prstGeom prst="rect">
            <a:avLst/>
          </a:prstGeo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  <a:sp3d z="-300000"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91440" tIns="91440" rIns="91440" bIns="91440" numCol="1" spcCol="1270" anchor="ctr" anchorCtr="0">
            <a:noAutofit/>
          </a:bodyPr>
          <a:lstStyle/>
          <a:p>
            <a:pPr marL="342900" lvl="0" indent="-165100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pt-BR" dirty="0"/>
              <a:t>Previsto em Contrato 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94B67BA-2F0E-4040-96E7-C7B767F34225}"/>
              </a:ext>
            </a:extLst>
          </p:cNvPr>
          <p:cNvSpPr txBox="1">
            <a:spLocks/>
          </p:cNvSpPr>
          <p:nvPr/>
        </p:nvSpPr>
        <p:spPr>
          <a:xfrm>
            <a:off x="2413000" y="116631"/>
            <a:ext cx="6426200" cy="1027881"/>
          </a:xfrm>
          <a:prstGeom prst="rect">
            <a:avLst/>
          </a:prstGeom>
        </p:spPr>
        <p:txBody>
          <a:bodyPr/>
          <a:lstStyle/>
          <a:p>
            <a:pPr algn="r" defTabSz="457200">
              <a:defRPr/>
            </a:pPr>
            <a:r>
              <a:rPr lang="pt-BR" sz="3000" b="1" dirty="0">
                <a:solidFill>
                  <a:srgbClr val="7F7F7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MS PGothic" pitchFamily="34" charset="-128"/>
                <a:cs typeface="+mn-cs"/>
              </a:rPr>
              <a:t>Análise</a:t>
            </a:r>
          </a:p>
          <a:p>
            <a:pPr algn="r" defTabSz="457200">
              <a:defRPr/>
            </a:pPr>
            <a:r>
              <a:rPr lang="pt-BR" dirty="0">
                <a:solidFill>
                  <a:srgbClr val="7F7F7F"/>
                </a:solidFill>
                <a:latin typeface="+mj-lt"/>
                <a:ea typeface="MS PGothic" pitchFamily="34" charset="-128"/>
                <a:cs typeface="+mn-cs"/>
              </a:rPr>
              <a:t>Prazo</a:t>
            </a: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DEF30C07-6C5D-4D75-BA32-E24C09CA8DBC}"/>
              </a:ext>
            </a:extLst>
          </p:cNvPr>
          <p:cNvSpPr txBox="1">
            <a:spLocks/>
          </p:cNvSpPr>
          <p:nvPr/>
        </p:nvSpPr>
        <p:spPr bwMode="auto">
          <a:xfrm>
            <a:off x="611560" y="2060848"/>
            <a:ext cx="7415213" cy="2304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Obrigado!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Sessão presencial - Audiência Pública nº 16/2018</a:t>
            </a:r>
            <a:endParaRPr kumimoji="0" lang="pt-BR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4572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Proposta de resolução que revoga e substitui a Resolução nº 355/2015</a:t>
            </a:r>
          </a:p>
          <a:p>
            <a:pPr marL="0" marR="0" lvl="0" indent="0" algn="just" defTabSz="4572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set/2018</a:t>
            </a:r>
          </a:p>
        </p:txBody>
      </p:sp>
    </p:spTree>
    <p:extLst>
      <p:ext uri="{BB962C8B-B14F-4D97-AF65-F5344CB8AC3E}">
        <p14:creationId xmlns:p14="http://schemas.microsoft.com/office/powerpoint/2010/main" val="15057368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51">
            <a:extLst>
              <a:ext uri="{FF2B5EF4-FFF2-40B4-BE49-F238E27FC236}">
                <a16:creationId xmlns:a16="http://schemas.microsoft.com/office/drawing/2014/main" id="{8E1F247E-A48A-445D-BF4E-2806D82754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Object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39" name="TextBox 5">
            <a:extLst>
              <a:ext uri="{FF2B5EF4-FFF2-40B4-BE49-F238E27FC236}">
                <a16:creationId xmlns:a16="http://schemas.microsoft.com/office/drawing/2014/main" id="{45DEE6B3-7856-449C-A5E2-4C9D76F524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7200" y="6505575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pt-BR" altLang="pt-BR" sz="1400" dirty="0">
                <a:solidFill>
                  <a:schemeClr val="bg1"/>
                </a:solidFill>
              </a:rPr>
              <a:t>Agência Nacional de Aviação Civil</a:t>
            </a:r>
          </a:p>
        </p:txBody>
      </p:sp>
      <p:graphicFrame>
        <p:nvGraphicFramePr>
          <p:cNvPr id="22" name="Diagrama 21">
            <a:extLst>
              <a:ext uri="{FF2B5EF4-FFF2-40B4-BE49-F238E27FC236}">
                <a16:creationId xmlns:a16="http://schemas.microsoft.com/office/drawing/2014/main" id="{AB694858-9B6D-48D7-9863-5385171B1E2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7006039"/>
              </p:ext>
            </p:extLst>
          </p:nvPr>
        </p:nvGraphicFramePr>
        <p:xfrm>
          <a:off x="2555776" y="2349717"/>
          <a:ext cx="6057486" cy="30234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4342" name="Espaço Reservado para Número de Slide 5">
            <a:extLst>
              <a:ext uri="{FF2B5EF4-FFF2-40B4-BE49-F238E27FC236}">
                <a16:creationId xmlns:a16="http://schemas.microsoft.com/office/drawing/2014/main" id="{9A169945-1391-4179-A171-7A4C90BE523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53200" y="6472238"/>
            <a:ext cx="21336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7F2DD977-AA05-437F-BD97-4002167CFE1C}" type="slidenum">
              <a:rPr lang="pt-BR" altLang="pt-BR" sz="1200">
                <a:solidFill>
                  <a:schemeClr val="bg1"/>
                </a:solidFill>
              </a:rPr>
              <a:pPr algn="r" eaLnBrk="1" hangingPunct="1">
                <a:spcBef>
                  <a:spcPct val="0"/>
                </a:spcBef>
                <a:buFontTx/>
                <a:buNone/>
              </a:pPr>
              <a:t>3</a:t>
            </a:fld>
            <a:endParaRPr lang="pt-BR" altLang="pt-BR" sz="1200">
              <a:solidFill>
                <a:schemeClr val="bg1"/>
              </a:solidFill>
            </a:endParaRP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78315268-7031-43C7-98BF-39A154AAF245}"/>
              </a:ext>
            </a:extLst>
          </p:cNvPr>
          <p:cNvSpPr/>
          <p:nvPr/>
        </p:nvSpPr>
        <p:spPr>
          <a:xfrm>
            <a:off x="405880" y="1589496"/>
            <a:ext cx="4411660" cy="542320"/>
          </a:xfrm>
          <a:prstGeom prst="rect">
            <a:avLst/>
          </a:prstGeo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lIns="30480" tIns="22860" rIns="30480" bIns="22860" spcCol="1270" anchor="ctr"/>
          <a:lstStyle/>
          <a:p>
            <a:pPr algn="ctr" defTabSz="533400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pt-BR" sz="1800" dirty="0"/>
              <a:t>Submeter ao processo de audiência pública:</a:t>
            </a:r>
          </a:p>
        </p:txBody>
      </p:sp>
      <p:cxnSp>
        <p:nvCxnSpPr>
          <p:cNvPr id="5" name="Conector: Angulado 4">
            <a:extLst>
              <a:ext uri="{FF2B5EF4-FFF2-40B4-BE49-F238E27FC236}">
                <a16:creationId xmlns:a16="http://schemas.microsoft.com/office/drawing/2014/main" id="{4677A130-85C0-44F4-BC1A-14BDD9082FF4}"/>
              </a:ext>
            </a:extLst>
          </p:cNvPr>
          <p:cNvCxnSpPr/>
          <p:nvPr/>
        </p:nvCxnSpPr>
        <p:spPr>
          <a:xfrm rot="16200000" flipH="1">
            <a:off x="1403648" y="2492896"/>
            <a:ext cx="720080" cy="720080"/>
          </a:xfrm>
          <a:prstGeom prst="bentConnector3">
            <a:avLst>
              <a:gd name="adj1" fmla="val 100204"/>
            </a:avLst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0" name="Conector: Angulado 19">
            <a:extLst>
              <a:ext uri="{FF2B5EF4-FFF2-40B4-BE49-F238E27FC236}">
                <a16:creationId xmlns:a16="http://schemas.microsoft.com/office/drawing/2014/main" id="{970F930D-D09F-4D85-B89B-C07BB06C9233}"/>
              </a:ext>
            </a:extLst>
          </p:cNvPr>
          <p:cNvCxnSpPr>
            <a:cxnSpLocks/>
          </p:cNvCxnSpPr>
          <p:nvPr/>
        </p:nvCxnSpPr>
        <p:spPr>
          <a:xfrm rot="16200000" flipH="1">
            <a:off x="467023" y="3069480"/>
            <a:ext cx="2233290" cy="1080120"/>
          </a:xfrm>
          <a:prstGeom prst="bentConnector3">
            <a:avLst>
              <a:gd name="adj1" fmla="val 100466"/>
            </a:avLst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C54D28C8-A43E-4795-AE2A-E20F0DE12389}"/>
              </a:ext>
            </a:extLst>
          </p:cNvPr>
          <p:cNvSpPr txBox="1">
            <a:spLocks/>
          </p:cNvSpPr>
          <p:nvPr/>
        </p:nvSpPr>
        <p:spPr>
          <a:xfrm>
            <a:off x="2413000" y="293390"/>
            <a:ext cx="6426200" cy="510580"/>
          </a:xfrm>
          <a:prstGeom prst="rect">
            <a:avLst/>
          </a:prstGeom>
        </p:spPr>
        <p:txBody>
          <a:bodyPr/>
          <a:lstStyle/>
          <a:p>
            <a:pPr algn="r" defTabSz="457200">
              <a:defRPr/>
            </a:pPr>
            <a:r>
              <a:rPr lang="pt-BR" sz="3000" b="1" dirty="0">
                <a:solidFill>
                  <a:srgbClr val="7F7F7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MS PGothic" pitchFamily="34" charset="-128"/>
                <a:cs typeface="+mn-cs"/>
              </a:rPr>
              <a:t>Objetivo</a:t>
            </a:r>
            <a:endParaRPr lang="en-US" sz="3000" b="1" dirty="0">
              <a:solidFill>
                <a:srgbClr val="7F7F7F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j-lt"/>
              <a:ea typeface="MS PGothic" pitchFamily="34" charset="-128"/>
              <a:cs typeface="+mn-cs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Espaço Reservado para Número de Slide 5">
            <a:extLst>
              <a:ext uri="{FF2B5EF4-FFF2-40B4-BE49-F238E27FC236}">
                <a16:creationId xmlns:a16="http://schemas.microsoft.com/office/drawing/2014/main" id="{75E37B36-8AD7-4B2D-857D-87248A1FEDF4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CC0E0345-91BA-4AC3-B95E-D29FCB0A9160}" type="slidenum">
              <a:rPr lang="en-US" altLang="pt-BR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buFontTx/>
                <a:buNone/>
              </a:pPr>
              <a:t>4</a:t>
            </a:fld>
            <a:endParaRPr lang="en-US" altLang="pt-BR" sz="1200">
              <a:solidFill>
                <a:schemeClr val="bg1"/>
              </a:solidFill>
            </a:endParaRPr>
          </a:p>
        </p:txBody>
      </p:sp>
      <p:sp>
        <p:nvSpPr>
          <p:cNvPr id="17412" name="TextBox 5">
            <a:extLst>
              <a:ext uri="{FF2B5EF4-FFF2-40B4-BE49-F238E27FC236}">
                <a16:creationId xmlns:a16="http://schemas.microsoft.com/office/drawing/2014/main" id="{E345D16E-9287-4719-96A6-8705207008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7200" y="6505575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pt-BR" sz="1400">
                <a:solidFill>
                  <a:schemeClr val="bg1"/>
                </a:solidFill>
              </a:rPr>
              <a:t>Agência Nacional de Aviação Civil</a:t>
            </a:r>
          </a:p>
        </p:txBody>
      </p:sp>
      <p:graphicFrame>
        <p:nvGraphicFramePr>
          <p:cNvPr id="10" name="Diagrama 9">
            <a:extLst>
              <a:ext uri="{FF2B5EF4-FFF2-40B4-BE49-F238E27FC236}">
                <a16:creationId xmlns:a16="http://schemas.microsoft.com/office/drawing/2014/main" id="{E40F2AD3-5160-4069-A65E-1400F9915FC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42936721"/>
              </p:ext>
            </p:extLst>
          </p:nvPr>
        </p:nvGraphicFramePr>
        <p:xfrm>
          <a:off x="755576" y="4077072"/>
          <a:ext cx="6192688" cy="20208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6" name="Diagrama 5">
            <a:extLst>
              <a:ext uri="{FF2B5EF4-FFF2-40B4-BE49-F238E27FC236}">
                <a16:creationId xmlns:a16="http://schemas.microsoft.com/office/drawing/2014/main" id="{0DC1F822-8BDA-46AD-8CB6-292529A96B3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94681363"/>
              </p:ext>
            </p:extLst>
          </p:nvPr>
        </p:nvGraphicFramePr>
        <p:xfrm>
          <a:off x="755576" y="1196752"/>
          <a:ext cx="6192688" cy="28344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8C644FB4-D360-4D1B-BF2D-F08873BBD246}"/>
              </a:ext>
            </a:extLst>
          </p:cNvPr>
          <p:cNvSpPr txBox="1">
            <a:spLocks/>
          </p:cNvSpPr>
          <p:nvPr/>
        </p:nvSpPr>
        <p:spPr>
          <a:xfrm>
            <a:off x="2413000" y="293390"/>
            <a:ext cx="6426200" cy="510580"/>
          </a:xfrm>
          <a:prstGeom prst="rect">
            <a:avLst/>
          </a:prstGeom>
        </p:spPr>
        <p:txBody>
          <a:bodyPr/>
          <a:lstStyle/>
          <a:p>
            <a:pPr algn="r" defTabSz="457200">
              <a:defRPr/>
            </a:pPr>
            <a:r>
              <a:rPr lang="pt-BR" sz="3000" b="1" dirty="0">
                <a:solidFill>
                  <a:srgbClr val="7F7F7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MS PGothic" pitchFamily="34" charset="-128"/>
                <a:cs typeface="+mn-cs"/>
              </a:rPr>
              <a:t>Justificativa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386" name="Object 51">
            <a:extLst>
              <a:ext uri="{FF2B5EF4-FFF2-40B4-BE49-F238E27FC236}">
                <a16:creationId xmlns:a16="http://schemas.microsoft.com/office/drawing/2014/main" id="{DB13242E-275E-457C-83D6-BD9FCADB4D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Object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7" name="TextBox 5">
            <a:extLst>
              <a:ext uri="{FF2B5EF4-FFF2-40B4-BE49-F238E27FC236}">
                <a16:creationId xmlns:a16="http://schemas.microsoft.com/office/drawing/2014/main" id="{ACD2F2F4-B1D2-4899-B8B5-F47D94E7895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7200" y="6505575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pt-BR" sz="1400">
                <a:solidFill>
                  <a:schemeClr val="bg1"/>
                </a:solidFill>
              </a:rPr>
              <a:t>Agência Nacional de Aviação Civil</a:t>
            </a:r>
          </a:p>
        </p:txBody>
      </p:sp>
      <p:sp>
        <p:nvSpPr>
          <p:cNvPr id="16389" name="Espaço Reservado para Número de Slide 5">
            <a:extLst>
              <a:ext uri="{FF2B5EF4-FFF2-40B4-BE49-F238E27FC236}">
                <a16:creationId xmlns:a16="http://schemas.microsoft.com/office/drawing/2014/main" id="{4029568A-2236-4F6B-BB05-29D21664212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53200" y="6472238"/>
            <a:ext cx="21336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ECF2F49E-6985-4460-B5B3-E105061B42F9}" type="slidenum">
              <a:rPr lang="en-US" altLang="pt-BR" sz="1200">
                <a:solidFill>
                  <a:schemeClr val="bg1"/>
                </a:solidFill>
              </a:rPr>
              <a:pPr algn="r" eaLnBrk="1" hangingPunct="1">
                <a:spcBef>
                  <a:spcPct val="0"/>
                </a:spcBef>
                <a:buFontTx/>
                <a:buNone/>
              </a:pPr>
              <a:t>5</a:t>
            </a:fld>
            <a:endParaRPr lang="en-US" altLang="pt-BR" sz="1200">
              <a:solidFill>
                <a:schemeClr val="bg1"/>
              </a:solidFill>
            </a:endParaRPr>
          </a:p>
        </p:txBody>
      </p:sp>
      <p:graphicFrame>
        <p:nvGraphicFramePr>
          <p:cNvPr id="2" name="Diagrama 1">
            <a:extLst>
              <a:ext uri="{FF2B5EF4-FFF2-40B4-BE49-F238E27FC236}">
                <a16:creationId xmlns:a16="http://schemas.microsoft.com/office/drawing/2014/main" id="{1064875E-025F-47D6-BA2C-CD78E7D3B41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71545472"/>
              </p:ext>
            </p:extLst>
          </p:nvPr>
        </p:nvGraphicFramePr>
        <p:xfrm>
          <a:off x="158750" y="1602531"/>
          <a:ext cx="2393950" cy="47383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graphicFrame>
        <p:nvGraphicFramePr>
          <p:cNvPr id="14" name="Diagrama 13">
            <a:extLst>
              <a:ext uri="{FF2B5EF4-FFF2-40B4-BE49-F238E27FC236}">
                <a16:creationId xmlns:a16="http://schemas.microsoft.com/office/drawing/2014/main" id="{81B3AEDA-567A-4130-A973-4C6E3A9852A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10823925"/>
              </p:ext>
            </p:extLst>
          </p:nvPr>
        </p:nvGraphicFramePr>
        <p:xfrm>
          <a:off x="2508895" y="1940068"/>
          <a:ext cx="6048672" cy="42252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cxnSp>
        <p:nvCxnSpPr>
          <p:cNvPr id="4" name="Conector de Seta Reta 3">
            <a:extLst>
              <a:ext uri="{FF2B5EF4-FFF2-40B4-BE49-F238E27FC236}">
                <a16:creationId xmlns:a16="http://schemas.microsoft.com/office/drawing/2014/main" id="{E6D05252-856A-4B11-AD2C-7B608A03F947}"/>
              </a:ext>
            </a:extLst>
          </p:cNvPr>
          <p:cNvCxnSpPr>
            <a:cxnSpLocks/>
          </p:cNvCxnSpPr>
          <p:nvPr/>
        </p:nvCxnSpPr>
        <p:spPr>
          <a:xfrm flipV="1">
            <a:off x="2051720" y="3487023"/>
            <a:ext cx="648072" cy="115212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6" name="Conector de Seta Reta 15">
            <a:extLst>
              <a:ext uri="{FF2B5EF4-FFF2-40B4-BE49-F238E27FC236}">
                <a16:creationId xmlns:a16="http://schemas.microsoft.com/office/drawing/2014/main" id="{BF38279E-500C-4A6D-A767-0D5AC4A0A487}"/>
              </a:ext>
            </a:extLst>
          </p:cNvPr>
          <p:cNvCxnSpPr>
            <a:cxnSpLocks/>
          </p:cNvCxnSpPr>
          <p:nvPr/>
        </p:nvCxnSpPr>
        <p:spPr>
          <a:xfrm>
            <a:off x="2051720" y="4700914"/>
            <a:ext cx="648072" cy="27577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3" name="Title 1">
            <a:extLst>
              <a:ext uri="{FF2B5EF4-FFF2-40B4-BE49-F238E27FC236}">
                <a16:creationId xmlns:a16="http://schemas.microsoft.com/office/drawing/2014/main" id="{872549B5-477B-4F3E-BD0B-E88B04D1E8AE}"/>
              </a:ext>
            </a:extLst>
          </p:cNvPr>
          <p:cNvSpPr txBox="1">
            <a:spLocks/>
          </p:cNvSpPr>
          <p:nvPr/>
        </p:nvSpPr>
        <p:spPr>
          <a:xfrm>
            <a:off x="2413000" y="293390"/>
            <a:ext cx="6426200" cy="510580"/>
          </a:xfrm>
          <a:prstGeom prst="rect">
            <a:avLst/>
          </a:prstGeom>
        </p:spPr>
        <p:txBody>
          <a:bodyPr/>
          <a:lstStyle/>
          <a:p>
            <a:pPr algn="r" defTabSz="457200">
              <a:defRPr/>
            </a:pPr>
            <a:r>
              <a:rPr lang="pt-BR" sz="3000" b="1" dirty="0">
                <a:solidFill>
                  <a:srgbClr val="7F7F7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MS PGothic" pitchFamily="34" charset="-128"/>
                <a:cs typeface="+mn-cs"/>
              </a:rPr>
              <a:t>Justificativa</a:t>
            </a: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183CE7B6-C4E4-4CE2-9FC1-933008302635}"/>
              </a:ext>
            </a:extLst>
          </p:cNvPr>
          <p:cNvSpPr/>
          <p:nvPr/>
        </p:nvSpPr>
        <p:spPr>
          <a:xfrm>
            <a:off x="2051720" y="1095127"/>
            <a:ext cx="5040560" cy="461665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r" defTabSz="457200">
              <a:defRPr/>
            </a:pPr>
            <a:r>
              <a:rPr lang="pt-BR" b="1" dirty="0">
                <a:solidFill>
                  <a:schemeClr val="tx2"/>
                </a:solidFill>
                <a:latin typeface="+mj-lt"/>
                <a:ea typeface="MS PGothic" pitchFamily="34" charset="-128"/>
              </a:rPr>
              <a:t>Diretrizes para Qualidade Regulatória</a:t>
            </a:r>
            <a:endParaRPr lang="en-US" b="1" dirty="0">
              <a:solidFill>
                <a:schemeClr val="tx2"/>
              </a:solidFill>
              <a:latin typeface="+mj-lt"/>
              <a:ea typeface="MS PGothic" pitchFamily="34" charset="-128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ontent Placeholder 1">
            <a:extLst>
              <a:ext uri="{FF2B5EF4-FFF2-40B4-BE49-F238E27FC236}">
                <a16:creationId xmlns:a16="http://schemas.microsoft.com/office/drawing/2014/main" id="{7C045F9C-A5D0-4449-9CB4-F0EE148EB08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64655603"/>
              </p:ext>
            </p:extLst>
          </p:nvPr>
        </p:nvGraphicFramePr>
        <p:xfrm>
          <a:off x="381000" y="1340768"/>
          <a:ext cx="8458200" cy="49685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1507" name="Espaço Reservado para Número de Slide 5">
            <a:extLst>
              <a:ext uri="{FF2B5EF4-FFF2-40B4-BE49-F238E27FC236}">
                <a16:creationId xmlns:a16="http://schemas.microsoft.com/office/drawing/2014/main" id="{26AA3E72-19DB-4ACE-9E0F-7AC4A66D9D15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FontTx/>
              <a:buNone/>
            </a:pPr>
            <a:fld id="{C1FDF4F5-F942-4B52-A989-3E5F276DD25B}" type="slidenum">
              <a:rPr lang="en-US" altLang="pt-BR" sz="1200" smtClean="0">
                <a:solidFill>
                  <a:schemeClr val="bg1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6</a:t>
            </a:fld>
            <a:endParaRPr lang="en-US" altLang="pt-BR" sz="120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21508" name="TextBox 5">
            <a:extLst>
              <a:ext uri="{FF2B5EF4-FFF2-40B4-BE49-F238E27FC236}">
                <a16:creationId xmlns:a16="http://schemas.microsoft.com/office/drawing/2014/main" id="{93E39A7C-3D52-45AF-AAEE-503763EBB55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7200" y="6505575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pt-BR" sz="1400">
                <a:solidFill>
                  <a:schemeClr val="bg1"/>
                </a:solidFill>
              </a:rPr>
              <a:t>Agência Nacional de Aviação Civi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D73CEDE-01FE-46FF-AC00-E3880C614B8C}"/>
              </a:ext>
            </a:extLst>
          </p:cNvPr>
          <p:cNvSpPr txBox="1">
            <a:spLocks/>
          </p:cNvSpPr>
          <p:nvPr/>
        </p:nvSpPr>
        <p:spPr>
          <a:xfrm>
            <a:off x="2413000" y="116631"/>
            <a:ext cx="6426200" cy="1027881"/>
          </a:xfrm>
          <a:prstGeom prst="rect">
            <a:avLst/>
          </a:prstGeom>
        </p:spPr>
        <p:txBody>
          <a:bodyPr/>
          <a:lstStyle/>
          <a:p>
            <a:pPr algn="r" defTabSz="457200">
              <a:defRPr/>
            </a:pPr>
            <a:r>
              <a:rPr lang="pt-BR" sz="3000" b="1" dirty="0">
                <a:solidFill>
                  <a:srgbClr val="7F7F7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MS PGothic" pitchFamily="34" charset="-128"/>
                <a:cs typeface="+mn-cs"/>
              </a:rPr>
              <a:t>Análise</a:t>
            </a:r>
          </a:p>
          <a:p>
            <a:pPr algn="r" defTabSz="457200">
              <a:defRPr/>
            </a:pPr>
            <a:r>
              <a:rPr lang="pt-BR" dirty="0">
                <a:solidFill>
                  <a:srgbClr val="7F7F7F"/>
                </a:solidFill>
                <a:latin typeface="+mj-lt"/>
                <a:ea typeface="MS PGothic" pitchFamily="34" charset="-128"/>
                <a:cs typeface="+mn-cs"/>
              </a:rPr>
              <a:t>Sistematização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Espaço Reservado para Número de Slide 5">
            <a:extLst>
              <a:ext uri="{FF2B5EF4-FFF2-40B4-BE49-F238E27FC236}">
                <a16:creationId xmlns:a16="http://schemas.microsoft.com/office/drawing/2014/main" id="{3F7C8175-BF10-4A93-8680-E1B8F91765A9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744B09A1-7952-4050-B1B5-62868E9E0378}" type="slidenum">
              <a:rPr lang="en-US" altLang="pt-BR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buFontTx/>
                <a:buNone/>
              </a:pPr>
              <a:t>7</a:t>
            </a:fld>
            <a:endParaRPr lang="en-US" altLang="pt-BR" sz="1200">
              <a:solidFill>
                <a:schemeClr val="bg1"/>
              </a:solidFill>
            </a:endParaRPr>
          </a:p>
        </p:txBody>
      </p:sp>
      <p:sp>
        <p:nvSpPr>
          <p:cNvPr id="23555" name="TextBox 5">
            <a:extLst>
              <a:ext uri="{FF2B5EF4-FFF2-40B4-BE49-F238E27FC236}">
                <a16:creationId xmlns:a16="http://schemas.microsoft.com/office/drawing/2014/main" id="{5FF024A5-2BBD-4119-96D0-8FAE3D3549B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7200" y="6505575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pt-BR" sz="1400">
                <a:solidFill>
                  <a:schemeClr val="bg1"/>
                </a:solidFill>
              </a:rPr>
              <a:t>Agência Nacional de Aviação Civil</a:t>
            </a:r>
          </a:p>
        </p:txBody>
      </p:sp>
      <p:grpSp>
        <p:nvGrpSpPr>
          <p:cNvPr id="7" name="Agrupar 6">
            <a:extLst>
              <a:ext uri="{FF2B5EF4-FFF2-40B4-BE49-F238E27FC236}">
                <a16:creationId xmlns:a16="http://schemas.microsoft.com/office/drawing/2014/main" id="{23D2EBF6-CB70-4ED3-84DD-43E207E2CBCB}"/>
              </a:ext>
            </a:extLst>
          </p:cNvPr>
          <p:cNvGrpSpPr/>
          <p:nvPr/>
        </p:nvGrpSpPr>
        <p:grpSpPr>
          <a:xfrm>
            <a:off x="415131" y="1365038"/>
            <a:ext cx="8458200" cy="656062"/>
            <a:chOff x="0" y="8341"/>
            <a:chExt cx="8458200" cy="656062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8" name="Retângulo: Cantos Arredondados 7">
              <a:extLst>
                <a:ext uri="{FF2B5EF4-FFF2-40B4-BE49-F238E27FC236}">
                  <a16:creationId xmlns:a16="http://schemas.microsoft.com/office/drawing/2014/main" id="{3F3FA933-3F21-4070-8998-3C522EF3AA14}"/>
                </a:ext>
              </a:extLst>
            </p:cNvPr>
            <p:cNvSpPr/>
            <p:nvPr/>
          </p:nvSpPr>
          <p:spPr>
            <a:xfrm>
              <a:off x="0" y="8341"/>
              <a:ext cx="8458200" cy="656062"/>
            </a:xfrm>
            <a:prstGeom prst="roundRect">
              <a:avLst/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" name="Retângulo: Cantos Arredondados 4">
              <a:extLst>
                <a:ext uri="{FF2B5EF4-FFF2-40B4-BE49-F238E27FC236}">
                  <a16:creationId xmlns:a16="http://schemas.microsoft.com/office/drawing/2014/main" id="{F06F982A-EFDE-4606-9879-3709D1014D4B}"/>
                </a:ext>
              </a:extLst>
            </p:cNvPr>
            <p:cNvSpPr txBox="1"/>
            <p:nvPr/>
          </p:nvSpPr>
          <p:spPr>
            <a:xfrm>
              <a:off x="32026" y="40367"/>
              <a:ext cx="8394148" cy="592010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6200" tIns="76200" rIns="76200" bIns="76200" spcCol="1270" anchor="ctr"/>
            <a:lstStyle/>
            <a:p>
              <a:pPr eaLnBrk="1" fontAlgn="auto" hangingPunct="1">
                <a:spcAft>
                  <a:spcPts val="0"/>
                </a:spcAft>
                <a:defRPr/>
              </a:pPr>
              <a:r>
                <a:rPr lang="pt-BR" sz="2000" dirty="0"/>
                <a:t>Capítulo I – DAS DISPOSIÇÕES GERAIS</a:t>
              </a:r>
            </a:p>
          </p:txBody>
        </p:sp>
      </p:grpSp>
      <p:graphicFrame>
        <p:nvGraphicFramePr>
          <p:cNvPr id="10" name="Diagrama 9">
            <a:extLst>
              <a:ext uri="{FF2B5EF4-FFF2-40B4-BE49-F238E27FC236}">
                <a16:creationId xmlns:a16="http://schemas.microsoft.com/office/drawing/2014/main" id="{0F7FA644-35BF-46F4-99A7-1A6103F6D6C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07761996"/>
              </p:ext>
            </p:extLst>
          </p:nvPr>
        </p:nvGraphicFramePr>
        <p:xfrm>
          <a:off x="476634" y="3052886"/>
          <a:ext cx="3744416" cy="30469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11" name="Grupo 10">
            <a:extLst>
              <a:ext uri="{FF2B5EF4-FFF2-40B4-BE49-F238E27FC236}">
                <a16:creationId xmlns:a16="http://schemas.microsoft.com/office/drawing/2014/main" id="{22774311-D0CC-4FBE-A8DD-F2EB02EBE1E0}"/>
              </a:ext>
            </a:extLst>
          </p:cNvPr>
          <p:cNvGrpSpPr/>
          <p:nvPr/>
        </p:nvGrpSpPr>
        <p:grpSpPr>
          <a:xfrm>
            <a:off x="2750986" y="2196117"/>
            <a:ext cx="3786489" cy="599619"/>
            <a:chOff x="211000" y="1182762"/>
            <a:chExt cx="1598619" cy="402978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12" name="Retângulo de cantos arredondados 11">
              <a:extLst>
                <a:ext uri="{FF2B5EF4-FFF2-40B4-BE49-F238E27FC236}">
                  <a16:creationId xmlns:a16="http://schemas.microsoft.com/office/drawing/2014/main" id="{BA3480DF-8BE8-4D8C-9BD6-A94ED9B4493C}"/>
                </a:ext>
              </a:extLst>
            </p:cNvPr>
            <p:cNvSpPr/>
            <p:nvPr/>
          </p:nvSpPr>
          <p:spPr>
            <a:xfrm>
              <a:off x="228763" y="1182762"/>
              <a:ext cx="1580856" cy="387148"/>
            </a:xfrm>
            <a:prstGeom prst="roundRect">
              <a:avLst>
                <a:gd name="adj" fmla="val 10000"/>
              </a:avLst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" name="Retângulo 12">
              <a:extLst>
                <a:ext uri="{FF2B5EF4-FFF2-40B4-BE49-F238E27FC236}">
                  <a16:creationId xmlns:a16="http://schemas.microsoft.com/office/drawing/2014/main" id="{2E17EE67-76F3-41B5-9772-BBD438C75306}"/>
                </a:ext>
              </a:extLst>
            </p:cNvPr>
            <p:cNvSpPr/>
            <p:nvPr/>
          </p:nvSpPr>
          <p:spPr>
            <a:xfrm>
              <a:off x="211000" y="1221270"/>
              <a:ext cx="1558178" cy="364470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30480" tIns="22860" rIns="30480" bIns="22860" spcCol="1270" anchor="ctr"/>
            <a:lstStyle/>
            <a:p>
              <a:pPr algn="ctr" defTabSz="533400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pt-BR" sz="1800" dirty="0"/>
                <a:t>Alteração relevante</a:t>
              </a:r>
            </a:p>
          </p:txBody>
        </p:sp>
      </p:grpSp>
      <p:graphicFrame>
        <p:nvGraphicFramePr>
          <p:cNvPr id="15" name="Diagrama 14">
            <a:extLst>
              <a:ext uri="{FF2B5EF4-FFF2-40B4-BE49-F238E27FC236}">
                <a16:creationId xmlns:a16="http://schemas.microsoft.com/office/drawing/2014/main" id="{07773B75-8B8C-4494-A24B-D7BC23B53275}"/>
              </a:ext>
            </a:extLst>
          </p:cNvPr>
          <p:cNvGraphicFramePr/>
          <p:nvPr/>
        </p:nvGraphicFramePr>
        <p:xfrm>
          <a:off x="5751056" y="5150760"/>
          <a:ext cx="2707184" cy="10081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16" name="Diagrama 15">
            <a:extLst>
              <a:ext uri="{FF2B5EF4-FFF2-40B4-BE49-F238E27FC236}">
                <a16:creationId xmlns:a16="http://schemas.microsoft.com/office/drawing/2014/main" id="{2EDF4950-AC7D-429A-9711-F54D2B52A40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22498055"/>
              </p:ext>
            </p:extLst>
          </p:nvPr>
        </p:nvGraphicFramePr>
        <p:xfrm>
          <a:off x="5745852" y="4072323"/>
          <a:ext cx="2707184" cy="10081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17" name="Diagrama 16">
            <a:extLst>
              <a:ext uri="{FF2B5EF4-FFF2-40B4-BE49-F238E27FC236}">
                <a16:creationId xmlns:a16="http://schemas.microsoft.com/office/drawing/2014/main" id="{51870014-C72A-4603-827B-173255E15608}"/>
              </a:ext>
            </a:extLst>
          </p:cNvPr>
          <p:cNvGraphicFramePr/>
          <p:nvPr/>
        </p:nvGraphicFramePr>
        <p:xfrm>
          <a:off x="5745852" y="2990719"/>
          <a:ext cx="2707184" cy="10081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sp>
        <p:nvSpPr>
          <p:cNvPr id="18" name="Title 1">
            <a:extLst>
              <a:ext uri="{FF2B5EF4-FFF2-40B4-BE49-F238E27FC236}">
                <a16:creationId xmlns:a16="http://schemas.microsoft.com/office/drawing/2014/main" id="{2E8C240E-9E02-457D-A291-C653F4C9D5C1}"/>
              </a:ext>
            </a:extLst>
          </p:cNvPr>
          <p:cNvSpPr txBox="1">
            <a:spLocks/>
          </p:cNvSpPr>
          <p:nvPr/>
        </p:nvSpPr>
        <p:spPr>
          <a:xfrm>
            <a:off x="2413000" y="116631"/>
            <a:ext cx="6426200" cy="1027881"/>
          </a:xfrm>
          <a:prstGeom prst="rect">
            <a:avLst/>
          </a:prstGeom>
        </p:spPr>
        <p:txBody>
          <a:bodyPr/>
          <a:lstStyle/>
          <a:p>
            <a:pPr algn="r" defTabSz="457200">
              <a:defRPr/>
            </a:pPr>
            <a:r>
              <a:rPr lang="pt-BR" sz="3000" b="1" dirty="0">
                <a:solidFill>
                  <a:srgbClr val="7F7F7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MS PGothic" pitchFamily="34" charset="-128"/>
                <a:cs typeface="+mn-cs"/>
              </a:rPr>
              <a:t>Análise</a:t>
            </a:r>
          </a:p>
          <a:p>
            <a:pPr algn="r" defTabSz="457200">
              <a:defRPr/>
            </a:pPr>
            <a:r>
              <a:rPr lang="pt-BR" dirty="0">
                <a:solidFill>
                  <a:srgbClr val="7F7F7F"/>
                </a:solidFill>
                <a:latin typeface="+mj-lt"/>
                <a:ea typeface="MS PGothic" pitchFamily="34" charset="-128"/>
                <a:cs typeface="+mn-cs"/>
              </a:rPr>
              <a:t>Alteração relevante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Espaço Reservado para Número de Slide 5">
            <a:extLst>
              <a:ext uri="{FF2B5EF4-FFF2-40B4-BE49-F238E27FC236}">
                <a16:creationId xmlns:a16="http://schemas.microsoft.com/office/drawing/2014/main" id="{079E2669-47C1-45C2-B556-A92B3910DBBE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6B307134-C2BA-4FCE-BFAF-4DD00C3B5805}" type="slidenum">
              <a:rPr lang="en-US" altLang="pt-BR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buFontTx/>
                <a:buNone/>
              </a:pPr>
              <a:t>8</a:t>
            </a:fld>
            <a:endParaRPr lang="en-US" altLang="pt-BR" sz="1200">
              <a:solidFill>
                <a:schemeClr val="bg1"/>
              </a:solidFill>
            </a:endParaRPr>
          </a:p>
        </p:txBody>
      </p:sp>
      <p:sp>
        <p:nvSpPr>
          <p:cNvPr id="26627" name="TextBox 5">
            <a:extLst>
              <a:ext uri="{FF2B5EF4-FFF2-40B4-BE49-F238E27FC236}">
                <a16:creationId xmlns:a16="http://schemas.microsoft.com/office/drawing/2014/main" id="{63079AD3-EC75-4714-A210-1AEBF4D1184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7200" y="6505575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pt-BR" sz="1400">
                <a:solidFill>
                  <a:schemeClr val="bg1"/>
                </a:solidFill>
              </a:rPr>
              <a:t>Agência Nacional de Aviação Civil</a:t>
            </a:r>
          </a:p>
        </p:txBody>
      </p:sp>
      <p:grpSp>
        <p:nvGrpSpPr>
          <p:cNvPr id="7" name="Agrupar 6">
            <a:extLst>
              <a:ext uri="{FF2B5EF4-FFF2-40B4-BE49-F238E27FC236}">
                <a16:creationId xmlns:a16="http://schemas.microsoft.com/office/drawing/2014/main" id="{23D2EBF6-CB70-4ED3-84DD-43E207E2CBCB}"/>
              </a:ext>
            </a:extLst>
          </p:cNvPr>
          <p:cNvGrpSpPr/>
          <p:nvPr/>
        </p:nvGrpSpPr>
        <p:grpSpPr>
          <a:xfrm>
            <a:off x="415131" y="1365038"/>
            <a:ext cx="8458200" cy="656062"/>
            <a:chOff x="0" y="8341"/>
            <a:chExt cx="8458200" cy="656062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8" name="Retângulo: Cantos Arredondados 7">
              <a:extLst>
                <a:ext uri="{FF2B5EF4-FFF2-40B4-BE49-F238E27FC236}">
                  <a16:creationId xmlns:a16="http://schemas.microsoft.com/office/drawing/2014/main" id="{3F3FA933-3F21-4070-8998-3C522EF3AA14}"/>
                </a:ext>
              </a:extLst>
            </p:cNvPr>
            <p:cNvSpPr/>
            <p:nvPr/>
          </p:nvSpPr>
          <p:spPr>
            <a:xfrm>
              <a:off x="0" y="8341"/>
              <a:ext cx="8458200" cy="656062"/>
            </a:xfrm>
            <a:prstGeom prst="roundRect">
              <a:avLst/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" name="Retângulo: Cantos Arredondados 4">
              <a:extLst>
                <a:ext uri="{FF2B5EF4-FFF2-40B4-BE49-F238E27FC236}">
                  <a16:creationId xmlns:a16="http://schemas.microsoft.com/office/drawing/2014/main" id="{F06F982A-EFDE-4606-9879-3709D1014D4B}"/>
                </a:ext>
              </a:extLst>
            </p:cNvPr>
            <p:cNvSpPr txBox="1"/>
            <p:nvPr/>
          </p:nvSpPr>
          <p:spPr>
            <a:xfrm>
              <a:off x="32026" y="40367"/>
              <a:ext cx="8394148" cy="592010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6200" tIns="76200" rIns="76200" bIns="76200" spcCol="1270" anchor="ctr"/>
            <a:lstStyle/>
            <a:p>
              <a:pPr eaLnBrk="1" fontAlgn="auto" hangingPunct="1">
                <a:spcAft>
                  <a:spcPts val="0"/>
                </a:spcAft>
                <a:defRPr/>
              </a:pPr>
              <a:r>
                <a:rPr lang="pt-BR" sz="2000" dirty="0"/>
                <a:t>Capítulo I – DAS DISPOSIÇÕES GERAIS</a:t>
              </a:r>
            </a:p>
          </p:txBody>
        </p:sp>
      </p:grpSp>
      <p:graphicFrame>
        <p:nvGraphicFramePr>
          <p:cNvPr id="10" name="Diagrama 9">
            <a:extLst>
              <a:ext uri="{FF2B5EF4-FFF2-40B4-BE49-F238E27FC236}">
                <a16:creationId xmlns:a16="http://schemas.microsoft.com/office/drawing/2014/main" id="{0F7FA644-35BF-46F4-99A7-1A6103F6D6C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73323648"/>
              </p:ext>
            </p:extLst>
          </p:nvPr>
        </p:nvGraphicFramePr>
        <p:xfrm>
          <a:off x="476634" y="2947198"/>
          <a:ext cx="4167374" cy="34341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11" name="Grupo 10">
            <a:extLst>
              <a:ext uri="{FF2B5EF4-FFF2-40B4-BE49-F238E27FC236}">
                <a16:creationId xmlns:a16="http://schemas.microsoft.com/office/drawing/2014/main" id="{22774311-D0CC-4FBE-A8DD-F2EB02EBE1E0}"/>
              </a:ext>
            </a:extLst>
          </p:cNvPr>
          <p:cNvGrpSpPr/>
          <p:nvPr/>
        </p:nvGrpSpPr>
        <p:grpSpPr>
          <a:xfrm>
            <a:off x="2750986" y="2196117"/>
            <a:ext cx="3786489" cy="599619"/>
            <a:chOff x="211000" y="1182762"/>
            <a:chExt cx="1598619" cy="402978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12" name="Retângulo de cantos arredondados 11">
              <a:extLst>
                <a:ext uri="{FF2B5EF4-FFF2-40B4-BE49-F238E27FC236}">
                  <a16:creationId xmlns:a16="http://schemas.microsoft.com/office/drawing/2014/main" id="{BA3480DF-8BE8-4D8C-9BD6-A94ED9B4493C}"/>
                </a:ext>
              </a:extLst>
            </p:cNvPr>
            <p:cNvSpPr/>
            <p:nvPr/>
          </p:nvSpPr>
          <p:spPr>
            <a:xfrm>
              <a:off x="228763" y="1182762"/>
              <a:ext cx="1580856" cy="387148"/>
            </a:xfrm>
            <a:prstGeom prst="roundRect">
              <a:avLst>
                <a:gd name="adj" fmla="val 10000"/>
              </a:avLst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" name="Retângulo 12">
              <a:extLst>
                <a:ext uri="{FF2B5EF4-FFF2-40B4-BE49-F238E27FC236}">
                  <a16:creationId xmlns:a16="http://schemas.microsoft.com/office/drawing/2014/main" id="{2E17EE67-76F3-41B5-9772-BBD438C75306}"/>
                </a:ext>
              </a:extLst>
            </p:cNvPr>
            <p:cNvSpPr/>
            <p:nvPr/>
          </p:nvSpPr>
          <p:spPr>
            <a:xfrm>
              <a:off x="211000" y="1221270"/>
              <a:ext cx="1558178" cy="364470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30480" tIns="22860" rIns="30480" bIns="22860" spcCol="1270" anchor="ctr"/>
            <a:lstStyle/>
            <a:p>
              <a:pPr algn="ctr" defTabSz="533400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pt-BR" sz="1800" dirty="0"/>
                <a:t>Preclusão</a:t>
              </a:r>
            </a:p>
          </p:txBody>
        </p:sp>
      </p:grpSp>
      <p:graphicFrame>
        <p:nvGraphicFramePr>
          <p:cNvPr id="15" name="Diagrama 14">
            <a:extLst>
              <a:ext uri="{FF2B5EF4-FFF2-40B4-BE49-F238E27FC236}">
                <a16:creationId xmlns:a16="http://schemas.microsoft.com/office/drawing/2014/main" id="{07773B75-8B8C-4494-A24B-D7BC23B53275}"/>
              </a:ext>
            </a:extLst>
          </p:cNvPr>
          <p:cNvGraphicFramePr/>
          <p:nvPr/>
        </p:nvGraphicFramePr>
        <p:xfrm>
          <a:off x="5751056" y="5150760"/>
          <a:ext cx="2707184" cy="10081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16" name="Diagrama 15">
            <a:extLst>
              <a:ext uri="{FF2B5EF4-FFF2-40B4-BE49-F238E27FC236}">
                <a16:creationId xmlns:a16="http://schemas.microsoft.com/office/drawing/2014/main" id="{2EDF4950-AC7D-429A-9711-F54D2B52A400}"/>
              </a:ext>
            </a:extLst>
          </p:cNvPr>
          <p:cNvGraphicFramePr/>
          <p:nvPr/>
        </p:nvGraphicFramePr>
        <p:xfrm>
          <a:off x="5745852" y="4072323"/>
          <a:ext cx="2707184" cy="10081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17" name="Diagrama 16">
            <a:extLst>
              <a:ext uri="{FF2B5EF4-FFF2-40B4-BE49-F238E27FC236}">
                <a16:creationId xmlns:a16="http://schemas.microsoft.com/office/drawing/2014/main" id="{51870014-C72A-4603-827B-173255E15608}"/>
              </a:ext>
            </a:extLst>
          </p:cNvPr>
          <p:cNvGraphicFramePr/>
          <p:nvPr/>
        </p:nvGraphicFramePr>
        <p:xfrm>
          <a:off x="5745852" y="2990719"/>
          <a:ext cx="2707184" cy="10081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aphicFrame>
        <p:nvGraphicFramePr>
          <p:cNvPr id="25" name="Diagrama 24">
            <a:extLst>
              <a:ext uri="{FF2B5EF4-FFF2-40B4-BE49-F238E27FC236}">
                <a16:creationId xmlns:a16="http://schemas.microsoft.com/office/drawing/2014/main" id="{E080E200-BE6D-466E-B774-F691EC8B5AD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2257055"/>
              </p:ext>
            </p:extLst>
          </p:nvPr>
        </p:nvGraphicFramePr>
        <p:xfrm>
          <a:off x="5765800" y="2924944"/>
          <a:ext cx="2707184" cy="10081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graphicFrame>
        <p:nvGraphicFramePr>
          <p:cNvPr id="26" name="Diagrama 25">
            <a:extLst>
              <a:ext uri="{FF2B5EF4-FFF2-40B4-BE49-F238E27FC236}">
                <a16:creationId xmlns:a16="http://schemas.microsoft.com/office/drawing/2014/main" id="{E60A55E1-4A91-4A26-933E-8336A46839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48163140"/>
              </p:ext>
            </p:extLst>
          </p:nvPr>
        </p:nvGraphicFramePr>
        <p:xfrm>
          <a:off x="5876149" y="4036593"/>
          <a:ext cx="2707184" cy="10081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8" r:lo="rId29" r:qs="rId30" r:cs="rId31"/>
          </a:graphicData>
        </a:graphic>
      </p:graphicFrame>
      <p:graphicFrame>
        <p:nvGraphicFramePr>
          <p:cNvPr id="27" name="Diagrama 26">
            <a:extLst>
              <a:ext uri="{FF2B5EF4-FFF2-40B4-BE49-F238E27FC236}">
                <a16:creationId xmlns:a16="http://schemas.microsoft.com/office/drawing/2014/main" id="{D4E5E246-4A01-4FF5-A1E0-3DC3C21753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36373158"/>
              </p:ext>
            </p:extLst>
          </p:nvPr>
        </p:nvGraphicFramePr>
        <p:xfrm>
          <a:off x="5876149" y="5150261"/>
          <a:ext cx="2707184" cy="10081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3" r:lo="rId34" r:qs="rId35" r:cs="rId36"/>
          </a:graphicData>
        </a:graphic>
      </p:graphicFrame>
      <p:sp>
        <p:nvSpPr>
          <p:cNvPr id="18" name="Title 1">
            <a:extLst>
              <a:ext uri="{FF2B5EF4-FFF2-40B4-BE49-F238E27FC236}">
                <a16:creationId xmlns:a16="http://schemas.microsoft.com/office/drawing/2014/main" id="{C13FAD70-ECD5-4D1D-AEED-D6EBBE44AFFF}"/>
              </a:ext>
            </a:extLst>
          </p:cNvPr>
          <p:cNvSpPr txBox="1">
            <a:spLocks/>
          </p:cNvSpPr>
          <p:nvPr/>
        </p:nvSpPr>
        <p:spPr>
          <a:xfrm>
            <a:off x="2413000" y="116631"/>
            <a:ext cx="6426200" cy="1027881"/>
          </a:xfrm>
          <a:prstGeom prst="rect">
            <a:avLst/>
          </a:prstGeom>
        </p:spPr>
        <p:txBody>
          <a:bodyPr/>
          <a:lstStyle/>
          <a:p>
            <a:pPr algn="r" defTabSz="457200">
              <a:defRPr/>
            </a:pPr>
            <a:r>
              <a:rPr lang="pt-BR" sz="3000" b="1" dirty="0">
                <a:solidFill>
                  <a:srgbClr val="7F7F7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MS PGothic" pitchFamily="34" charset="-128"/>
                <a:cs typeface="+mn-cs"/>
              </a:rPr>
              <a:t>Análise</a:t>
            </a:r>
          </a:p>
          <a:p>
            <a:pPr algn="r" defTabSz="457200">
              <a:defRPr/>
            </a:pPr>
            <a:r>
              <a:rPr lang="pt-BR" dirty="0">
                <a:solidFill>
                  <a:srgbClr val="7F7F7F"/>
                </a:solidFill>
                <a:latin typeface="+mj-lt"/>
                <a:ea typeface="MS PGothic" pitchFamily="34" charset="-128"/>
                <a:cs typeface="+mn-cs"/>
              </a:rPr>
              <a:t>Preclusão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Espaço Reservado para Número de Slide 5">
            <a:extLst>
              <a:ext uri="{FF2B5EF4-FFF2-40B4-BE49-F238E27FC236}">
                <a16:creationId xmlns:a16="http://schemas.microsoft.com/office/drawing/2014/main" id="{BB80FAC3-9AAF-4DF5-AC79-3C1D838235BF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A3C8FE82-1016-447D-9E47-1F00E2905869}" type="slidenum">
              <a:rPr lang="en-US" altLang="pt-BR" sz="1200" smtClean="0">
                <a:solidFill>
                  <a:schemeClr val="bg1"/>
                </a:solidFill>
              </a:rPr>
              <a:pPr>
                <a:spcBef>
                  <a:spcPct val="0"/>
                </a:spcBef>
                <a:buFontTx/>
                <a:buNone/>
              </a:pPr>
              <a:t>9</a:t>
            </a:fld>
            <a:endParaRPr lang="en-US" altLang="pt-BR" sz="1200">
              <a:solidFill>
                <a:schemeClr val="bg1"/>
              </a:solidFill>
            </a:endParaRPr>
          </a:p>
        </p:txBody>
      </p:sp>
      <p:sp>
        <p:nvSpPr>
          <p:cNvPr id="28675" name="TextBox 5">
            <a:extLst>
              <a:ext uri="{FF2B5EF4-FFF2-40B4-BE49-F238E27FC236}">
                <a16:creationId xmlns:a16="http://schemas.microsoft.com/office/drawing/2014/main" id="{6CA2B211-5EF8-40FB-A006-7DB01C17629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7200" y="6505575"/>
            <a:ext cx="822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rgbClr val="004E90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93D2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pt-BR" sz="1400">
                <a:solidFill>
                  <a:schemeClr val="bg1"/>
                </a:solidFill>
              </a:rPr>
              <a:t>Agência Nacional de Aviação Civil</a:t>
            </a:r>
          </a:p>
        </p:txBody>
      </p:sp>
      <p:grpSp>
        <p:nvGrpSpPr>
          <p:cNvPr id="7" name="Agrupar 6">
            <a:extLst>
              <a:ext uri="{FF2B5EF4-FFF2-40B4-BE49-F238E27FC236}">
                <a16:creationId xmlns:a16="http://schemas.microsoft.com/office/drawing/2014/main" id="{934EFC26-8A03-4827-A0B1-6C0BD9DB9869}"/>
              </a:ext>
            </a:extLst>
          </p:cNvPr>
          <p:cNvGrpSpPr/>
          <p:nvPr/>
        </p:nvGrpSpPr>
        <p:grpSpPr>
          <a:xfrm>
            <a:off x="342900" y="1219200"/>
            <a:ext cx="8458200" cy="656062"/>
            <a:chOff x="0" y="785364"/>
            <a:chExt cx="8458200" cy="656062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9" name="Retângulo: Cantos Arredondados 8">
              <a:extLst>
                <a:ext uri="{FF2B5EF4-FFF2-40B4-BE49-F238E27FC236}">
                  <a16:creationId xmlns:a16="http://schemas.microsoft.com/office/drawing/2014/main" id="{A98D42C2-CDD7-45E1-8162-B3EE45BBAA71}"/>
                </a:ext>
              </a:extLst>
            </p:cNvPr>
            <p:cNvSpPr/>
            <p:nvPr/>
          </p:nvSpPr>
          <p:spPr>
            <a:xfrm>
              <a:off x="0" y="785364"/>
              <a:ext cx="8458200" cy="656062"/>
            </a:xfrm>
            <a:prstGeom prst="roundRect">
              <a:avLst/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Retângulo: Cantos Arredondados 4">
              <a:extLst>
                <a:ext uri="{FF2B5EF4-FFF2-40B4-BE49-F238E27FC236}">
                  <a16:creationId xmlns:a16="http://schemas.microsoft.com/office/drawing/2014/main" id="{6AD87B03-9C84-4C3D-B0C2-905116345A8A}"/>
                </a:ext>
              </a:extLst>
            </p:cNvPr>
            <p:cNvSpPr txBox="1"/>
            <p:nvPr/>
          </p:nvSpPr>
          <p:spPr>
            <a:xfrm>
              <a:off x="32026" y="817390"/>
              <a:ext cx="8394148" cy="592010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6200" tIns="76200" rIns="76200" bIns="76200" spcCol="1270" anchor="ctr"/>
            <a:lstStyle/>
            <a:p>
              <a:pPr defTabSz="889000" eaLnBrk="1" fontAlgn="auto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pt-BR" sz="2000" dirty="0"/>
                <a:t>Capítulo II – DO PROCESSO DE REVISÃO EXTRAORDINÁRIA</a:t>
              </a:r>
            </a:p>
          </p:txBody>
        </p:sp>
      </p:grpSp>
      <p:graphicFrame>
        <p:nvGraphicFramePr>
          <p:cNvPr id="11" name="Diagrama 10">
            <a:extLst>
              <a:ext uri="{FF2B5EF4-FFF2-40B4-BE49-F238E27FC236}">
                <a16:creationId xmlns:a16="http://schemas.microsoft.com/office/drawing/2014/main" id="{B3795AFB-3812-4C73-88E5-E28E6408E46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70122784"/>
              </p:ext>
            </p:extLst>
          </p:nvPr>
        </p:nvGraphicFramePr>
        <p:xfrm>
          <a:off x="374926" y="2276872"/>
          <a:ext cx="8311874" cy="32403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17FF74A8-0F32-4BF5-9BD2-90FBC4897FF7}"/>
              </a:ext>
            </a:extLst>
          </p:cNvPr>
          <p:cNvSpPr txBox="1">
            <a:spLocks/>
          </p:cNvSpPr>
          <p:nvPr/>
        </p:nvSpPr>
        <p:spPr>
          <a:xfrm>
            <a:off x="2413000" y="116631"/>
            <a:ext cx="6426200" cy="1027881"/>
          </a:xfrm>
          <a:prstGeom prst="rect">
            <a:avLst/>
          </a:prstGeom>
        </p:spPr>
        <p:txBody>
          <a:bodyPr/>
          <a:lstStyle/>
          <a:p>
            <a:pPr algn="r" defTabSz="457200">
              <a:defRPr/>
            </a:pPr>
            <a:r>
              <a:rPr lang="pt-BR" sz="3000" b="1" dirty="0">
                <a:solidFill>
                  <a:srgbClr val="7F7F7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MS PGothic" pitchFamily="34" charset="-128"/>
                <a:cs typeface="+mn-cs"/>
              </a:rPr>
              <a:t>Análise</a:t>
            </a:r>
          </a:p>
          <a:p>
            <a:pPr algn="r" defTabSz="457200">
              <a:defRPr/>
            </a:pPr>
            <a:r>
              <a:rPr lang="pt-BR" dirty="0">
                <a:solidFill>
                  <a:srgbClr val="7F7F7F"/>
                </a:solidFill>
                <a:latin typeface="+mj-lt"/>
                <a:ea typeface="MS PGothic" pitchFamily="34" charset="-128"/>
                <a:cs typeface="+mn-cs"/>
              </a:rPr>
              <a:t>Análise individual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1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ema do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0613</TotalTime>
  <Words>1733</Words>
  <Application>Microsoft Office PowerPoint</Application>
  <PresentationFormat>Apresentação na tela (4:3)</PresentationFormat>
  <Paragraphs>269</Paragraphs>
  <Slides>23</Slides>
  <Notes>19</Notes>
  <HiddenSlides>0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3</vt:i4>
      </vt:variant>
    </vt:vector>
  </HeadingPairs>
  <TitlesOfParts>
    <vt:vector size="29" baseType="lpstr">
      <vt:lpstr>MS PGothic</vt:lpstr>
      <vt:lpstr>Arial</vt:lpstr>
      <vt:lpstr>Calibri</vt:lpstr>
      <vt:lpstr>Times New Roman</vt:lpstr>
      <vt:lpstr>Tema1</vt:lpstr>
      <vt:lpstr>think-cell Slid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>DA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gência Nacional de Aviação Civil - ANAC</dc:title>
  <dc:creator>rfmoser</dc:creator>
  <cp:lastModifiedBy>Rafael Pereira Scherre</cp:lastModifiedBy>
  <cp:revision>1841</cp:revision>
  <dcterms:created xsi:type="dcterms:W3CDTF">2008-01-18T12:46:40Z</dcterms:created>
  <dcterms:modified xsi:type="dcterms:W3CDTF">2018-09-20T14:27:25Z</dcterms:modified>
</cp:coreProperties>
</file>